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FFE058_3713A59F.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comments/modernComment_7FFFE097_62D76DBF.xml" ContentType="application/vnd.ms-powerpoint.comments+xml"/>
  <Override PartName="/ppt/tags/tag4.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900" r:id="rId4"/>
    <p:sldMasterId id="2147483852" r:id="rId5"/>
    <p:sldMasterId id="2147483907" r:id="rId6"/>
  </p:sldMasterIdLst>
  <p:notesMasterIdLst>
    <p:notesMasterId r:id="rId28"/>
  </p:notesMasterIdLst>
  <p:handoutMasterIdLst>
    <p:handoutMasterId r:id="rId29"/>
  </p:handoutMasterIdLst>
  <p:sldIdLst>
    <p:sldId id="2147475599" r:id="rId7"/>
    <p:sldId id="2147475615" r:id="rId8"/>
    <p:sldId id="2147475601" r:id="rId9"/>
    <p:sldId id="2147475618" r:id="rId10"/>
    <p:sldId id="2147475619" r:id="rId11"/>
    <p:sldId id="2147475620" r:id="rId12"/>
    <p:sldId id="2147475586" r:id="rId13"/>
    <p:sldId id="279" r:id="rId14"/>
    <p:sldId id="2147475621" r:id="rId15"/>
    <p:sldId id="2147475587" r:id="rId16"/>
    <p:sldId id="2147475589" r:id="rId17"/>
    <p:sldId id="2147475624" r:id="rId18"/>
    <p:sldId id="2147475544" r:id="rId19"/>
    <p:sldId id="2147475547" r:id="rId20"/>
    <p:sldId id="2147475546" r:id="rId21"/>
    <p:sldId id="2147475559" r:id="rId22"/>
    <p:sldId id="2147475597" r:id="rId23"/>
    <p:sldId id="2147475603" r:id="rId24"/>
    <p:sldId id="2147475607" r:id="rId25"/>
    <p:sldId id="9685" r:id="rId26"/>
    <p:sldId id="271" r:id="rId27"/>
  </p:sldIdLst>
  <p:sldSz cx="12192000" cy="6858000"/>
  <p:notesSz cx="7104063" cy="10234613"/>
  <p:embeddedFontLst>
    <p:embeddedFont>
      <p:font typeface="Ellab Sans" panose="02000503000000020004" pitchFamily="2" charset="0"/>
      <p:regular r:id="rId30"/>
      <p:bold r:id="rId31"/>
      <p:italic r:id="rId32"/>
      <p:boldItalic r:id="rId33"/>
    </p:embeddedFont>
    <p:embeddedFont>
      <p:font typeface="Ellab Sans Light" panose="02000403000000020004" pitchFamily="2" charset="0"/>
      <p:regular r:id="rId34"/>
      <p:italic r:id="rId35"/>
    </p:embeddedFont>
    <p:embeddedFont>
      <p:font typeface="Ellab Sans Medium" panose="02000603000000020004" pitchFamily="2" charset="0"/>
      <p:regular r:id="rId36"/>
      <p:italic r:id="rId37"/>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Introduction to Ellab" id="{BF5D8560-E768-43E8-A47F-A51538220ED5}">
          <p14:sldIdLst>
            <p14:sldId id="2147475599"/>
            <p14:sldId id="2147475615"/>
            <p14:sldId id="2147475601"/>
            <p14:sldId id="2147475618"/>
            <p14:sldId id="2147475619"/>
            <p14:sldId id="2147475620"/>
            <p14:sldId id="2147475586"/>
            <p14:sldId id="279"/>
            <p14:sldId id="2147475621"/>
            <p14:sldId id="2147475587"/>
            <p14:sldId id="2147475589"/>
          </p14:sldIdLst>
        </p14:section>
        <p14:section name="Ellab's Offering" id="{95B73D7E-C08D-46D3-81A8-F698A310E249}">
          <p14:sldIdLst>
            <p14:sldId id="2147475624"/>
            <p14:sldId id="2147475544"/>
            <p14:sldId id="2147475547"/>
            <p14:sldId id="2147475546"/>
            <p14:sldId id="2147475559"/>
          </p14:sldIdLst>
        </p14:section>
        <p14:section name="Sustainability" id="{D12EF402-1632-4608-ABF1-115DE8516FFC}">
          <p14:sldIdLst>
            <p14:sldId id="2147475597"/>
            <p14:sldId id="2147475603"/>
          </p14:sldIdLst>
        </p14:section>
        <p14:section name="Partnerships" id="{F6A5A44F-4E64-41C6-8BDB-36B5FFE0CD47}">
          <p14:sldIdLst>
            <p14:sldId id="2147475607"/>
            <p14:sldId id="9685"/>
          </p14:sldIdLst>
        </p14:section>
        <p14:section name="Thank you" id="{DCC38EF6-DB0D-4A5A-8BBD-91917215294F}">
          <p14:sldIdLst>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9AA64FB2-F0E7-BBE9-AC24-5FF4096187A0}" name="Christian Grønbech" initials="CG" userId="S::cgr@ellab.com::5a0fdb57-2dfb-4f3d-ae3d-ebd357106f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B90F"/>
    <a:srgbClr val="79C10F"/>
    <a:srgbClr val="96ED17"/>
    <a:srgbClr val="7BC70F"/>
    <a:srgbClr val="123584"/>
    <a:srgbClr val="060074"/>
    <a:srgbClr val="009FE4"/>
    <a:srgbClr val="00AEEF"/>
    <a:srgbClr val="00ADEF"/>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9D4160-F14A-4B5D-A489-40F92C175458}" v="588" dt="2025-09-04T07:14:42.646"/>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706" y="7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font" Target="fonts/font5.fntdata"/><Relationship Id="rId42"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font" Target="fonts/font6.fntdata"/><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W. Flanagan" userId="2859ba47-2415-45f6-8b6c-b1e23376e9ef" providerId="ADAL" clId="{0935E015-CBCE-476B-A003-C2CF617ED571}"/>
    <pc:docChg chg="undo redo custSel addSld delSld modSld sldOrd addSection modSection">
      <pc:chgData name="Thomas W. Flanagan" userId="2859ba47-2415-45f6-8b6c-b1e23376e9ef" providerId="ADAL" clId="{0935E015-CBCE-476B-A003-C2CF617ED571}" dt="2025-06-17T12:12:19.641" v="3719" actId="207"/>
      <pc:docMkLst>
        <pc:docMk/>
      </pc:docMkLst>
      <pc:sldChg chg="modSp mod ord">
        <pc:chgData name="Thomas W. Flanagan" userId="2859ba47-2415-45f6-8b6c-b1e23376e9ef" providerId="ADAL" clId="{0935E015-CBCE-476B-A003-C2CF617ED571}" dt="2025-06-11T10:33:11.113" v="1153" actId="1037"/>
        <pc:sldMkLst>
          <pc:docMk/>
          <pc:sldMk cId="2596581562" sldId="279"/>
        </pc:sldMkLst>
        <pc:spChg chg="mod">
          <ac:chgData name="Thomas W. Flanagan" userId="2859ba47-2415-45f6-8b6c-b1e23376e9ef" providerId="ADAL" clId="{0935E015-CBCE-476B-A003-C2CF617ED571}" dt="2025-06-11T10:32:41.305" v="1146" actId="207"/>
          <ac:spMkLst>
            <pc:docMk/>
            <pc:sldMk cId="2596581562" sldId="279"/>
            <ac:spMk id="3" creationId="{B42D8D85-2BCF-16B6-47B2-CBB6AE86D976}"/>
          </ac:spMkLst>
        </pc:spChg>
        <pc:spChg chg="mod">
          <ac:chgData name="Thomas W. Flanagan" userId="2859ba47-2415-45f6-8b6c-b1e23376e9ef" providerId="ADAL" clId="{0935E015-CBCE-476B-A003-C2CF617ED571}" dt="2025-06-11T10:33:11.113" v="1153" actId="1037"/>
          <ac:spMkLst>
            <pc:docMk/>
            <pc:sldMk cId="2596581562" sldId="279"/>
            <ac:spMk id="16" creationId="{C08A1D7E-B273-8562-BC41-A9A7A54D83B2}"/>
          </ac:spMkLst>
        </pc:spChg>
        <pc:spChg chg="mod">
          <ac:chgData name="Thomas W. Flanagan" userId="2859ba47-2415-45f6-8b6c-b1e23376e9ef" providerId="ADAL" clId="{0935E015-CBCE-476B-A003-C2CF617ED571}" dt="2025-06-11T10:33:01.953" v="1149" actId="14100"/>
          <ac:spMkLst>
            <pc:docMk/>
            <pc:sldMk cId="2596581562" sldId="279"/>
            <ac:spMk id="21" creationId="{2621FA91-D84E-D7CA-B4AB-8EDA00E82A40}"/>
          </ac:spMkLst>
        </pc:spChg>
      </pc:sldChg>
      <pc:sldChg chg="addSp delSp modSp mod">
        <pc:chgData name="Thomas W. Flanagan" userId="2859ba47-2415-45f6-8b6c-b1e23376e9ef" providerId="ADAL" clId="{0935E015-CBCE-476B-A003-C2CF617ED571}" dt="2025-06-11T11:45:13.636" v="3386" actId="1076"/>
        <pc:sldMkLst>
          <pc:docMk/>
          <pc:sldMk cId="2335864090" sldId="9685"/>
        </pc:sldMkLst>
        <pc:spChg chg="mod">
          <ac:chgData name="Thomas W. Flanagan" userId="2859ba47-2415-45f6-8b6c-b1e23376e9ef" providerId="ADAL" clId="{0935E015-CBCE-476B-A003-C2CF617ED571}" dt="2025-06-11T11:44:08.232" v="3351"/>
          <ac:spMkLst>
            <pc:docMk/>
            <pc:sldMk cId="2335864090" sldId="9685"/>
            <ac:spMk id="2" creationId="{0299956D-34B3-DFCF-6895-C38897445CFD}"/>
          </ac:spMkLst>
        </pc:spChg>
        <pc:spChg chg="mod">
          <ac:chgData name="Thomas W. Flanagan" userId="2859ba47-2415-45f6-8b6c-b1e23376e9ef" providerId="ADAL" clId="{0935E015-CBCE-476B-A003-C2CF617ED571}" dt="2025-06-11T11:43:47.076" v="3350" actId="113"/>
          <ac:spMkLst>
            <pc:docMk/>
            <pc:sldMk cId="2335864090" sldId="9685"/>
            <ac:spMk id="12" creationId="{D21744FB-9546-B179-C98B-2BDCE84DF023}"/>
          </ac:spMkLst>
        </pc:spChg>
      </pc:sldChg>
      <pc:sldChg chg="addSp modSp mod">
        <pc:chgData name="Thomas W. Flanagan" userId="2859ba47-2415-45f6-8b6c-b1e23376e9ef" providerId="ADAL" clId="{0935E015-CBCE-476B-A003-C2CF617ED571}" dt="2025-06-11T11:10:21.390" v="1953" actId="1038"/>
        <pc:sldMkLst>
          <pc:docMk/>
          <pc:sldMk cId="924034463" sldId="2147475544"/>
        </pc:sldMkLst>
      </pc:sldChg>
      <pc:sldChg chg="modSp add mod ord setBg">
        <pc:chgData name="Thomas W. Flanagan" userId="2859ba47-2415-45f6-8b6c-b1e23376e9ef" providerId="ADAL" clId="{0935E015-CBCE-476B-A003-C2CF617ED571}" dt="2025-06-11T11:07:41.305" v="1940"/>
        <pc:sldMkLst>
          <pc:docMk/>
          <pc:sldMk cId="4075863176" sldId="2147475546"/>
        </pc:sldMkLst>
        <pc:spChg chg="mod ord">
          <ac:chgData name="Thomas W. Flanagan" userId="2859ba47-2415-45f6-8b6c-b1e23376e9ef" providerId="ADAL" clId="{0935E015-CBCE-476B-A003-C2CF617ED571}" dt="2025-06-11T11:07:20.583" v="1937" actId="207"/>
          <ac:spMkLst>
            <pc:docMk/>
            <pc:sldMk cId="4075863176" sldId="2147475546"/>
            <ac:spMk id="111" creationId="{F181742F-B244-7790-F329-A67149328106}"/>
          </ac:spMkLst>
        </pc:spChg>
        <pc:picChg chg="ord">
          <ac:chgData name="Thomas W. Flanagan" userId="2859ba47-2415-45f6-8b6c-b1e23376e9ef" providerId="ADAL" clId="{0935E015-CBCE-476B-A003-C2CF617ED571}" dt="2025-06-11T11:07:13.681" v="1935" actId="167"/>
          <ac:picMkLst>
            <pc:docMk/>
            <pc:sldMk cId="4075863176" sldId="2147475546"/>
            <ac:picMk id="110" creationId="{1C941741-C443-58A5-EF27-9C0CBCB62E77}"/>
          </ac:picMkLst>
        </pc:picChg>
      </pc:sldChg>
      <pc:sldChg chg="add setBg">
        <pc:chgData name="Thomas W. Flanagan" userId="2859ba47-2415-45f6-8b6c-b1e23376e9ef" providerId="ADAL" clId="{0935E015-CBCE-476B-A003-C2CF617ED571}" dt="2025-06-11T11:06:58.525" v="1934"/>
        <pc:sldMkLst>
          <pc:docMk/>
          <pc:sldMk cId="2824485688" sldId="2147475547"/>
        </pc:sldMkLst>
      </pc:sldChg>
      <pc:sldChg chg="modSp add mod setBg">
        <pc:chgData name="Thomas W. Flanagan" userId="2859ba47-2415-45f6-8b6c-b1e23376e9ef" providerId="ADAL" clId="{0935E015-CBCE-476B-A003-C2CF617ED571}" dt="2025-06-11T11:07:26.408" v="1938" actId="207"/>
        <pc:sldMkLst>
          <pc:docMk/>
          <pc:sldMk cId="1922953959" sldId="2147475559"/>
        </pc:sldMkLst>
        <pc:spChg chg="mod">
          <ac:chgData name="Thomas W. Flanagan" userId="2859ba47-2415-45f6-8b6c-b1e23376e9ef" providerId="ADAL" clId="{0935E015-CBCE-476B-A003-C2CF617ED571}" dt="2025-06-11T11:07:26.408" v="1938" actId="207"/>
          <ac:spMkLst>
            <pc:docMk/>
            <pc:sldMk cId="1922953959" sldId="2147475559"/>
            <ac:spMk id="72" creationId="{BBBF9D17-185C-FEC5-9DBE-1CA3414133C6}"/>
          </ac:spMkLst>
        </pc:spChg>
      </pc:sldChg>
      <pc:sldChg chg="modSp mod ord">
        <pc:chgData name="Thomas W. Flanagan" userId="2859ba47-2415-45f6-8b6c-b1e23376e9ef" providerId="ADAL" clId="{0935E015-CBCE-476B-A003-C2CF617ED571}" dt="2025-06-11T11:46:33.772" v="3389"/>
        <pc:sldMkLst>
          <pc:docMk/>
          <pc:sldMk cId="1924466054" sldId="2147475561"/>
        </pc:sldMkLst>
      </pc:sldChg>
      <pc:sldChg chg="add del setBg">
        <pc:chgData name="Thomas W. Flanagan" userId="2859ba47-2415-45f6-8b6c-b1e23376e9ef" providerId="ADAL" clId="{0935E015-CBCE-476B-A003-C2CF617ED571}" dt="2025-06-11T11:06:30.744" v="1932" actId="47"/>
        <pc:sldMkLst>
          <pc:docMk/>
          <pc:sldMk cId="4209937363" sldId="2147475567"/>
        </pc:sldMkLst>
      </pc:sldChg>
      <pc:sldChg chg="add del mod ord modShow">
        <pc:chgData name="Thomas W. Flanagan" userId="2859ba47-2415-45f6-8b6c-b1e23376e9ef" providerId="ADAL" clId="{0935E015-CBCE-476B-A003-C2CF617ED571}" dt="2025-06-17T08:22:27.819" v="3458" actId="47"/>
        <pc:sldMkLst>
          <pc:docMk/>
          <pc:sldMk cId="85589310" sldId="2147475582"/>
        </pc:sldMkLst>
      </pc:sldChg>
      <pc:sldChg chg="modSp mod">
        <pc:chgData name="Thomas W. Flanagan" userId="2859ba47-2415-45f6-8b6c-b1e23376e9ef" providerId="ADAL" clId="{0935E015-CBCE-476B-A003-C2CF617ED571}" dt="2025-06-11T10:31:47.327" v="1124" actId="20577"/>
        <pc:sldMkLst>
          <pc:docMk/>
          <pc:sldMk cId="10056299" sldId="2147475586"/>
        </pc:sldMkLst>
        <pc:spChg chg="mod">
          <ac:chgData name="Thomas W. Flanagan" userId="2859ba47-2415-45f6-8b6c-b1e23376e9ef" providerId="ADAL" clId="{0935E015-CBCE-476B-A003-C2CF617ED571}" dt="2025-06-11T10:30:16.811" v="1071" actId="14100"/>
          <ac:spMkLst>
            <pc:docMk/>
            <pc:sldMk cId="10056299" sldId="2147475586"/>
            <ac:spMk id="12" creationId="{FE9B3611-1B63-A2E4-1BA4-BA91C9E4A868}"/>
          </ac:spMkLst>
        </pc:spChg>
        <pc:spChg chg="mod">
          <ac:chgData name="Thomas W. Flanagan" userId="2859ba47-2415-45f6-8b6c-b1e23376e9ef" providerId="ADAL" clId="{0935E015-CBCE-476B-A003-C2CF617ED571}" dt="2025-06-11T10:31:03.819" v="1101" actId="20577"/>
          <ac:spMkLst>
            <pc:docMk/>
            <pc:sldMk cId="10056299" sldId="2147475586"/>
            <ac:spMk id="13" creationId="{AFE69480-7632-6269-F078-2E07314EA229}"/>
          </ac:spMkLst>
        </pc:spChg>
        <pc:spChg chg="mod">
          <ac:chgData name="Thomas W. Flanagan" userId="2859ba47-2415-45f6-8b6c-b1e23376e9ef" providerId="ADAL" clId="{0935E015-CBCE-476B-A003-C2CF617ED571}" dt="2025-06-11T10:31:47.327" v="1124" actId="20577"/>
          <ac:spMkLst>
            <pc:docMk/>
            <pc:sldMk cId="10056299" sldId="2147475586"/>
            <ac:spMk id="14" creationId="{3B0E4295-1D2F-47C5-73AF-8D363249A68D}"/>
          </ac:spMkLst>
        </pc:spChg>
      </pc:sldChg>
      <pc:sldChg chg="addSp delSp modSp mod ord">
        <pc:chgData name="Thomas W. Flanagan" userId="2859ba47-2415-45f6-8b6c-b1e23376e9ef" providerId="ADAL" clId="{0935E015-CBCE-476B-A003-C2CF617ED571}" dt="2025-06-11T11:46:35.260" v="3391"/>
        <pc:sldMkLst>
          <pc:docMk/>
          <pc:sldMk cId="2286090696" sldId="2147475587"/>
        </pc:sldMkLst>
        <pc:spChg chg="add mod">
          <ac:chgData name="Thomas W. Flanagan" userId="2859ba47-2415-45f6-8b6c-b1e23376e9ef" providerId="ADAL" clId="{0935E015-CBCE-476B-A003-C2CF617ED571}" dt="2025-06-11T10:54:29.603" v="1804" actId="20577"/>
          <ac:spMkLst>
            <pc:docMk/>
            <pc:sldMk cId="2286090696" sldId="2147475587"/>
            <ac:spMk id="3" creationId="{D1BB7F40-BA25-E3E0-7D76-02163F685ED1}"/>
          </ac:spMkLst>
        </pc:spChg>
      </pc:sldChg>
      <pc:sldChg chg="add del mod ord modShow">
        <pc:chgData name="Thomas W. Flanagan" userId="2859ba47-2415-45f6-8b6c-b1e23376e9ef" providerId="ADAL" clId="{0935E015-CBCE-476B-A003-C2CF617ED571}" dt="2025-06-17T08:22:27.819" v="3458" actId="47"/>
        <pc:sldMkLst>
          <pc:docMk/>
          <pc:sldMk cId="1966495790" sldId="2147475588"/>
        </pc:sldMkLst>
      </pc:sldChg>
      <pc:sldChg chg="addSp delSp modSp mod ord">
        <pc:chgData name="Thomas W. Flanagan" userId="2859ba47-2415-45f6-8b6c-b1e23376e9ef" providerId="ADAL" clId="{0935E015-CBCE-476B-A003-C2CF617ED571}" dt="2025-06-13T12:29:53.371" v="3404" actId="1076"/>
        <pc:sldMkLst>
          <pc:docMk/>
          <pc:sldMk cId="0" sldId="2147475589"/>
        </pc:sldMkLst>
        <pc:spChg chg="mod">
          <ac:chgData name="Thomas W. Flanagan" userId="2859ba47-2415-45f6-8b6c-b1e23376e9ef" providerId="ADAL" clId="{0935E015-CBCE-476B-A003-C2CF617ED571}" dt="2025-06-13T12:29:53.371" v="3404" actId="1076"/>
          <ac:spMkLst>
            <pc:docMk/>
            <pc:sldMk cId="0" sldId="2147475589"/>
            <ac:spMk id="147" creationId="{384E8FE1-ED7B-4935-8C3A-89AA700BA7F0}"/>
          </ac:spMkLst>
        </pc:spChg>
      </pc:sldChg>
      <pc:sldChg chg="addSp delSp modSp mod ord modShow">
        <pc:chgData name="Thomas W. Flanagan" userId="2859ba47-2415-45f6-8b6c-b1e23376e9ef" providerId="ADAL" clId="{0935E015-CBCE-476B-A003-C2CF617ED571}" dt="2025-06-11T11:13:16.589" v="2031"/>
        <pc:sldMkLst>
          <pc:docMk/>
          <pc:sldMk cId="2698771799" sldId="2147475600"/>
        </pc:sldMkLst>
      </pc:sldChg>
      <pc:sldChg chg="addSp delSp modSp mod modShow">
        <pc:chgData name="Thomas W. Flanagan" userId="2859ba47-2415-45f6-8b6c-b1e23376e9ef" providerId="ADAL" clId="{0935E015-CBCE-476B-A003-C2CF617ED571}" dt="2025-06-17T12:12:19.641" v="3719" actId="207"/>
        <pc:sldMkLst>
          <pc:docMk/>
          <pc:sldMk cId="2646260899" sldId="2147475601"/>
        </pc:sldMkLst>
        <pc:spChg chg="add mod">
          <ac:chgData name="Thomas W. Flanagan" userId="2859ba47-2415-45f6-8b6c-b1e23376e9ef" providerId="ADAL" clId="{0935E015-CBCE-476B-A003-C2CF617ED571}" dt="2025-06-17T12:12:19.641" v="3719" actId="207"/>
          <ac:spMkLst>
            <pc:docMk/>
            <pc:sldMk cId="2646260899" sldId="2147475601"/>
            <ac:spMk id="2" creationId="{E45FCE7B-A9DF-9825-C913-5E061130CFB5}"/>
          </ac:spMkLst>
        </pc:spChg>
        <pc:spChg chg="mod">
          <ac:chgData name="Thomas W. Flanagan" userId="2859ba47-2415-45f6-8b6c-b1e23376e9ef" providerId="ADAL" clId="{0935E015-CBCE-476B-A003-C2CF617ED571}" dt="2025-06-17T12:11:59.641" v="3703" actId="1036"/>
          <ac:spMkLst>
            <pc:docMk/>
            <pc:sldMk cId="2646260899" sldId="2147475601"/>
            <ac:spMk id="4" creationId="{2BD166DB-713D-D888-ECDB-DC0213158261}"/>
          </ac:spMkLst>
        </pc:spChg>
        <pc:graphicFrameChg chg="add mod">
          <ac:chgData name="Thomas W. Flanagan" userId="2859ba47-2415-45f6-8b6c-b1e23376e9ef" providerId="ADAL" clId="{0935E015-CBCE-476B-A003-C2CF617ED571}" dt="2025-06-11T11:12:20.724" v="1975" actId="1036"/>
          <ac:graphicFrameMkLst>
            <pc:docMk/>
            <pc:sldMk cId="2646260899" sldId="2147475601"/>
            <ac:graphicFrameMk id="7" creationId="{E0CF2557-5FFA-FDC8-BD82-EAB4E0ACFDDA}"/>
          </ac:graphicFrameMkLst>
        </pc:graphicFrameChg>
        <pc:picChg chg="ord">
          <ac:chgData name="Thomas W. Flanagan" userId="2859ba47-2415-45f6-8b6c-b1e23376e9ef" providerId="ADAL" clId="{0935E015-CBCE-476B-A003-C2CF617ED571}" dt="2025-06-11T11:12:21.110" v="1976" actId="166"/>
          <ac:picMkLst>
            <pc:docMk/>
            <pc:sldMk cId="2646260899" sldId="2147475601"/>
            <ac:picMk id="6" creationId="{BC52BB9B-E84B-7F6B-DD14-24C81B01D822}"/>
          </ac:picMkLst>
        </pc:picChg>
        <pc:picChg chg="mod">
          <ac:chgData name="Thomas W. Flanagan" userId="2859ba47-2415-45f6-8b6c-b1e23376e9ef" providerId="ADAL" clId="{0935E015-CBCE-476B-A003-C2CF617ED571}" dt="2025-06-11T11:11:24.752" v="1962" actId="1076"/>
          <ac:picMkLst>
            <pc:docMk/>
            <pc:sldMk cId="2646260899" sldId="2147475601"/>
            <ac:picMk id="9" creationId="{0E98DB36-21F2-516A-3D02-6E60C2D0BFE0}"/>
          </ac:picMkLst>
        </pc:picChg>
      </pc:sldChg>
      <pc:sldChg chg="mod modShow">
        <pc:chgData name="Thomas W. Flanagan" userId="2859ba47-2415-45f6-8b6c-b1e23376e9ef" providerId="ADAL" clId="{0935E015-CBCE-476B-A003-C2CF617ED571}" dt="2025-06-11T11:06:40.244" v="1933" actId="729"/>
        <pc:sldMkLst>
          <pc:docMk/>
          <pc:sldMk cId="892019716" sldId="2147475606"/>
        </pc:sldMkLst>
      </pc:sldChg>
      <pc:sldChg chg="modSp add del mod setBg">
        <pc:chgData name="Thomas W. Flanagan" userId="2859ba47-2415-45f6-8b6c-b1e23376e9ef" providerId="ADAL" clId="{0935E015-CBCE-476B-A003-C2CF617ED571}" dt="2025-06-17T08:45:11.673" v="3538" actId="47"/>
        <pc:sldMkLst>
          <pc:docMk/>
          <pc:sldMk cId="1217162217" sldId="2147475608"/>
        </pc:sldMkLst>
      </pc:sldChg>
      <pc:sldChg chg="addSp delSp modSp new del mod modClrScheme chgLayout">
        <pc:chgData name="Thomas W. Flanagan" userId="2859ba47-2415-45f6-8b6c-b1e23376e9ef" providerId="ADAL" clId="{0935E015-CBCE-476B-A003-C2CF617ED571}" dt="2025-06-11T11:11:51.056" v="1967" actId="47"/>
        <pc:sldMkLst>
          <pc:docMk/>
          <pc:sldMk cId="1307165020" sldId="2147475609"/>
        </pc:sldMkLst>
      </pc:sldChg>
      <pc:sldChg chg="addSp delSp modSp new del mod chgLayout">
        <pc:chgData name="Thomas W. Flanagan" userId="2859ba47-2415-45f6-8b6c-b1e23376e9ef" providerId="ADAL" clId="{0935E015-CBCE-476B-A003-C2CF617ED571}" dt="2025-06-11T11:39:30.818" v="3324" actId="47"/>
        <pc:sldMkLst>
          <pc:docMk/>
          <pc:sldMk cId="1750415134" sldId="2147475610"/>
        </pc:sldMkLst>
      </pc:sldChg>
      <pc:sldChg chg="new del">
        <pc:chgData name="Thomas W. Flanagan" userId="2859ba47-2415-45f6-8b6c-b1e23376e9ef" providerId="ADAL" clId="{0935E015-CBCE-476B-A003-C2CF617ED571}" dt="2025-06-11T09:46:45.580" v="268" actId="680"/>
        <pc:sldMkLst>
          <pc:docMk/>
          <pc:sldMk cId="3068835401" sldId="2147475610"/>
        </pc:sldMkLst>
      </pc:sldChg>
      <pc:sldChg chg="add setBg">
        <pc:chgData name="Thomas W. Flanagan" userId="2859ba47-2415-45f6-8b6c-b1e23376e9ef" providerId="ADAL" clId="{0935E015-CBCE-476B-A003-C2CF617ED571}" dt="2025-06-11T11:10:51.987" v="1955"/>
        <pc:sldMkLst>
          <pc:docMk/>
          <pc:sldMk cId="4063043402" sldId="2147475611"/>
        </pc:sldMkLst>
      </pc:sldChg>
      <pc:sldChg chg="modSp add mod">
        <pc:chgData name="Thomas W. Flanagan" userId="2859ba47-2415-45f6-8b6c-b1e23376e9ef" providerId="ADAL" clId="{0935E015-CBCE-476B-A003-C2CF617ED571}" dt="2025-06-11T11:39:22.982" v="3323" actId="1036"/>
        <pc:sldMkLst>
          <pc:docMk/>
          <pc:sldMk cId="579547471" sldId="2147475612"/>
        </pc:sldMkLst>
      </pc:sldChg>
      <pc:sldChg chg="addSp delSp modSp new mod modClrScheme chgLayout">
        <pc:chgData name="Thomas W. Flanagan" userId="2859ba47-2415-45f6-8b6c-b1e23376e9ef" providerId="ADAL" clId="{0935E015-CBCE-476B-A003-C2CF617ED571}" dt="2025-06-17T08:29:51.108" v="3459" actId="700"/>
        <pc:sldMkLst>
          <pc:docMk/>
          <pc:sldMk cId="3140461183" sldId="2147475613"/>
        </pc:sldMkLst>
      </pc:sldChg>
      <pc:sldChg chg="modSp add mod modShow">
        <pc:chgData name="Thomas W. Flanagan" userId="2859ba47-2415-45f6-8b6c-b1e23376e9ef" providerId="ADAL" clId="{0935E015-CBCE-476B-A003-C2CF617ED571}" dt="2025-06-17T08:56:30.661" v="3667" actId="729"/>
        <pc:sldMkLst>
          <pc:docMk/>
          <pc:sldMk cId="3797014442" sldId="2147475614"/>
        </pc:sldMkLst>
      </pc:sldChg>
      <pc:sldChg chg="modSp add mod">
        <pc:chgData name="Thomas W. Flanagan" userId="2859ba47-2415-45f6-8b6c-b1e23376e9ef" providerId="ADAL" clId="{0935E015-CBCE-476B-A003-C2CF617ED571}" dt="2025-06-17T12:11:34.342" v="3686" actId="20577"/>
        <pc:sldMkLst>
          <pc:docMk/>
          <pc:sldMk cId="4044116286" sldId="2147475615"/>
        </pc:sldMkLst>
        <pc:spChg chg="mod">
          <ac:chgData name="Thomas W. Flanagan" userId="2859ba47-2415-45f6-8b6c-b1e23376e9ef" providerId="ADAL" clId="{0935E015-CBCE-476B-A003-C2CF617ED571}" dt="2025-06-17T08:56:08.719" v="3666" actId="20577"/>
          <ac:spMkLst>
            <pc:docMk/>
            <pc:sldMk cId="4044116286" sldId="2147475615"/>
            <ac:spMk id="5" creationId="{D0304A69-6E50-F8DA-1FB0-A75767FFFB5C}"/>
          </ac:spMkLst>
        </pc:spChg>
        <pc:spChg chg="mod">
          <ac:chgData name="Thomas W. Flanagan" userId="2859ba47-2415-45f6-8b6c-b1e23376e9ef" providerId="ADAL" clId="{0935E015-CBCE-476B-A003-C2CF617ED571}" dt="2025-06-17T12:11:34.342" v="3686" actId="20577"/>
          <ac:spMkLst>
            <pc:docMk/>
            <pc:sldMk cId="4044116286" sldId="2147475615"/>
            <ac:spMk id="7" creationId="{D6C3AA65-EC7A-1D78-47C1-6F17F3915627}"/>
          </ac:spMkLst>
        </pc:spChg>
      </pc:sldChg>
      <pc:sldMasterChg chg="delSldLayout">
        <pc:chgData name="Thomas W. Flanagan" userId="2859ba47-2415-45f6-8b6c-b1e23376e9ef" providerId="ADAL" clId="{0935E015-CBCE-476B-A003-C2CF617ED571}" dt="2025-06-11T11:06:30.744" v="1932" actId="47"/>
        <pc:sldMasterMkLst>
          <pc:docMk/>
          <pc:sldMasterMk cId="166638926" sldId="2147483852"/>
        </pc:sldMasterMkLst>
        <pc:sldLayoutChg chg="del">
          <pc:chgData name="Thomas W. Flanagan" userId="2859ba47-2415-45f6-8b6c-b1e23376e9ef" providerId="ADAL" clId="{0935E015-CBCE-476B-A003-C2CF617ED571}" dt="2025-06-11T11:06:30.744" v="1932" actId="47"/>
          <pc:sldLayoutMkLst>
            <pc:docMk/>
            <pc:sldMasterMk cId="166638926" sldId="2147483852"/>
            <pc:sldLayoutMk cId="184160069" sldId="2147483926"/>
          </pc:sldLayoutMkLst>
        </pc:sldLayoutChg>
      </pc:sldMasterChg>
    </pc:docChg>
  </pc:docChgLst>
  <pc:docChgLst>
    <pc:chgData name="Thomas W. Flanagan" userId="2859ba47-2415-45f6-8b6c-b1e23376e9ef" providerId="ADAL" clId="{2B9D4160-F14A-4B5D-A489-40F92C175458}"/>
    <pc:docChg chg="undo custSel addSld delSld modSld modSection">
      <pc:chgData name="Thomas W. Flanagan" userId="2859ba47-2415-45f6-8b6c-b1e23376e9ef" providerId="ADAL" clId="{2B9D4160-F14A-4B5D-A489-40F92C175458}" dt="2025-09-04T07:14:42.646" v="1380" actId="478"/>
      <pc:docMkLst>
        <pc:docMk/>
      </pc:docMkLst>
      <pc:sldChg chg="add del">
        <pc:chgData name="Thomas W. Flanagan" userId="2859ba47-2415-45f6-8b6c-b1e23376e9ef" providerId="ADAL" clId="{2B9D4160-F14A-4B5D-A489-40F92C175458}" dt="2025-08-28T14:31:36.615" v="1368" actId="47"/>
        <pc:sldMkLst>
          <pc:docMk/>
          <pc:sldMk cId="3060002143" sldId="1010"/>
        </pc:sldMkLst>
      </pc:sldChg>
      <pc:sldChg chg="modSp mod">
        <pc:chgData name="Thomas W. Flanagan" userId="2859ba47-2415-45f6-8b6c-b1e23376e9ef" providerId="ADAL" clId="{2B9D4160-F14A-4B5D-A489-40F92C175458}" dt="2025-08-14T09:38:11.335" v="1335" actId="20577"/>
        <pc:sldMkLst>
          <pc:docMk/>
          <pc:sldMk cId="2335864090" sldId="9685"/>
        </pc:sldMkLst>
        <pc:spChg chg="mod">
          <ac:chgData name="Thomas W. Flanagan" userId="2859ba47-2415-45f6-8b6c-b1e23376e9ef" providerId="ADAL" clId="{2B9D4160-F14A-4B5D-A489-40F92C175458}" dt="2025-08-14T09:38:11.335" v="1335" actId="20577"/>
          <ac:spMkLst>
            <pc:docMk/>
            <pc:sldMk cId="2335864090" sldId="9685"/>
            <ac:spMk id="12" creationId="{D21744FB-9546-B179-C98B-2BDCE84DF023}"/>
          </ac:spMkLst>
        </pc:spChg>
      </pc:sldChg>
      <pc:sldChg chg="del">
        <pc:chgData name="Thomas W. Flanagan" userId="2859ba47-2415-45f6-8b6c-b1e23376e9ef" providerId="ADAL" clId="{2B9D4160-F14A-4B5D-A489-40F92C175458}" dt="2025-07-09T09:03:32.222" v="739" actId="47"/>
        <pc:sldMkLst>
          <pc:docMk/>
          <pc:sldMk cId="85589310" sldId="2147475582"/>
        </pc:sldMkLst>
      </pc:sldChg>
      <pc:sldChg chg="del">
        <pc:chgData name="Thomas W. Flanagan" userId="2859ba47-2415-45f6-8b6c-b1e23376e9ef" providerId="ADAL" clId="{2B9D4160-F14A-4B5D-A489-40F92C175458}" dt="2025-07-09T09:03:32.222" v="739" actId="47"/>
        <pc:sldMkLst>
          <pc:docMk/>
          <pc:sldMk cId="1966495790" sldId="2147475588"/>
        </pc:sldMkLst>
      </pc:sldChg>
      <pc:sldChg chg="addSp delSp modSp mod">
        <pc:chgData name="Thomas W. Flanagan" userId="2859ba47-2415-45f6-8b6c-b1e23376e9ef" providerId="ADAL" clId="{2B9D4160-F14A-4B5D-A489-40F92C175458}" dt="2025-09-04T07:14:42.646" v="1380" actId="478"/>
        <pc:sldMkLst>
          <pc:docMk/>
          <pc:sldMk cId="0" sldId="2147475589"/>
        </pc:sldMkLst>
        <pc:spChg chg="add del">
          <ac:chgData name="Thomas W. Flanagan" userId="2859ba47-2415-45f6-8b6c-b1e23376e9ef" providerId="ADAL" clId="{2B9D4160-F14A-4B5D-A489-40F92C175458}" dt="2025-09-04T07:14:42.646" v="1380" actId="478"/>
          <ac:spMkLst>
            <pc:docMk/>
            <pc:sldMk cId="0" sldId="2147475589"/>
            <ac:spMk id="2" creationId="{D8CDA3A8-0A4C-CA41-B699-6FBB904E69A3}"/>
          </ac:spMkLst>
        </pc:spChg>
        <pc:spChg chg="add del mod">
          <ac:chgData name="Thomas W. Flanagan" userId="2859ba47-2415-45f6-8b6c-b1e23376e9ef" providerId="ADAL" clId="{2B9D4160-F14A-4B5D-A489-40F92C175458}" dt="2025-09-04T07:14:42.018" v="1379" actId="478"/>
          <ac:spMkLst>
            <pc:docMk/>
            <pc:sldMk cId="0" sldId="2147475589"/>
            <ac:spMk id="6" creationId="{B02F522F-C98B-A37B-D089-60AD2F6DB5E0}"/>
          </ac:spMkLst>
        </pc:spChg>
        <pc:spChg chg="add del">
          <ac:chgData name="Thomas W. Flanagan" userId="2859ba47-2415-45f6-8b6c-b1e23376e9ef" providerId="ADAL" clId="{2B9D4160-F14A-4B5D-A489-40F92C175458}" dt="2025-09-04T07:14:41.357" v="1377" actId="478"/>
          <ac:spMkLst>
            <pc:docMk/>
            <pc:sldMk cId="0" sldId="2147475589"/>
            <ac:spMk id="21" creationId="{71FFCA9B-2E12-C562-23E5-BD82AB149472}"/>
          </ac:spMkLst>
        </pc:spChg>
        <pc:spChg chg="add del">
          <ac:chgData name="Thomas W. Flanagan" userId="2859ba47-2415-45f6-8b6c-b1e23376e9ef" providerId="ADAL" clId="{2B9D4160-F14A-4B5D-A489-40F92C175458}" dt="2025-09-04T07:14:41.677" v="1378" actId="478"/>
          <ac:spMkLst>
            <pc:docMk/>
            <pc:sldMk cId="0" sldId="2147475589"/>
            <ac:spMk id="22" creationId="{1E669430-0C07-FCEF-EB21-FF4B2CF4F6DB}"/>
          </ac:spMkLst>
        </pc:spChg>
        <pc:spChg chg="add del">
          <ac:chgData name="Thomas W. Flanagan" userId="2859ba47-2415-45f6-8b6c-b1e23376e9ef" providerId="ADAL" clId="{2B9D4160-F14A-4B5D-A489-40F92C175458}" dt="2025-09-04T07:14:40.597" v="1375" actId="478"/>
          <ac:spMkLst>
            <pc:docMk/>
            <pc:sldMk cId="0" sldId="2147475589"/>
            <ac:spMk id="230" creationId="{C99116DD-6DDC-48AA-A413-87110AB68240}"/>
          </ac:spMkLst>
        </pc:spChg>
        <pc:spChg chg="add del">
          <ac:chgData name="Thomas W. Flanagan" userId="2859ba47-2415-45f6-8b6c-b1e23376e9ef" providerId="ADAL" clId="{2B9D4160-F14A-4B5D-A489-40F92C175458}" dt="2025-09-04T07:14:40.956" v="1376" actId="478"/>
          <ac:spMkLst>
            <pc:docMk/>
            <pc:sldMk cId="0" sldId="2147475589"/>
            <ac:spMk id="231" creationId="{C373B101-7921-4EB8-8FD3-45312E61D6DC}"/>
          </ac:spMkLst>
        </pc:spChg>
      </pc:sldChg>
      <pc:sldChg chg="del">
        <pc:chgData name="Thomas W. Flanagan" userId="2859ba47-2415-45f6-8b6c-b1e23376e9ef" providerId="ADAL" clId="{2B9D4160-F14A-4B5D-A489-40F92C175458}" dt="2025-07-18T11:13:09.970" v="805" actId="47"/>
        <pc:sldMkLst>
          <pc:docMk/>
          <pc:sldMk cId="2698771799" sldId="2147475600"/>
        </pc:sldMkLst>
      </pc:sldChg>
      <pc:sldChg chg="modSp mod">
        <pc:chgData name="Thomas W. Flanagan" userId="2859ba47-2415-45f6-8b6c-b1e23376e9ef" providerId="ADAL" clId="{2B9D4160-F14A-4B5D-A489-40F92C175458}" dt="2025-07-18T11:08:04.473" v="775" actId="207"/>
        <pc:sldMkLst>
          <pc:docMk/>
          <pc:sldMk cId="2646260899" sldId="2147475601"/>
        </pc:sldMkLst>
        <pc:spChg chg="mod">
          <ac:chgData name="Thomas W. Flanagan" userId="2859ba47-2415-45f6-8b6c-b1e23376e9ef" providerId="ADAL" clId="{2B9D4160-F14A-4B5D-A489-40F92C175458}" dt="2025-07-18T11:06:48.640" v="770" actId="20577"/>
          <ac:spMkLst>
            <pc:docMk/>
            <pc:sldMk cId="2646260899" sldId="2147475601"/>
            <ac:spMk id="2" creationId="{E45FCE7B-A9DF-9825-C913-5E061130CFB5}"/>
          </ac:spMkLst>
        </pc:spChg>
        <pc:graphicFrameChg chg="modGraphic">
          <ac:chgData name="Thomas W. Flanagan" userId="2859ba47-2415-45f6-8b6c-b1e23376e9ef" providerId="ADAL" clId="{2B9D4160-F14A-4B5D-A489-40F92C175458}" dt="2025-07-18T11:08:04.473" v="775" actId="207"/>
          <ac:graphicFrameMkLst>
            <pc:docMk/>
            <pc:sldMk cId="2646260899" sldId="2147475601"/>
            <ac:graphicFrameMk id="7" creationId="{E0CF2557-5FFA-FDC8-BD82-EAB4E0ACFDDA}"/>
          </ac:graphicFrameMkLst>
        </pc:graphicFrameChg>
      </pc:sldChg>
      <pc:sldChg chg="addSp modSp mod modAnim">
        <pc:chgData name="Thomas W. Flanagan" userId="2859ba47-2415-45f6-8b6c-b1e23376e9ef" providerId="ADAL" clId="{2B9D4160-F14A-4B5D-A489-40F92C175458}" dt="2025-08-28T09:58:54.582" v="1367"/>
        <pc:sldMkLst>
          <pc:docMk/>
          <pc:sldMk cId="2496868078" sldId="2147475603"/>
        </pc:sldMkLst>
        <pc:spChg chg="mod">
          <ac:chgData name="Thomas W. Flanagan" userId="2859ba47-2415-45f6-8b6c-b1e23376e9ef" providerId="ADAL" clId="{2B9D4160-F14A-4B5D-A489-40F92C175458}" dt="2025-07-18T13:04:33.277" v="1078" actId="14100"/>
          <ac:spMkLst>
            <pc:docMk/>
            <pc:sldMk cId="2496868078" sldId="2147475603"/>
            <ac:spMk id="2" creationId="{1AC5C5CE-A3CC-B0A3-872A-A9AC6B440EE4}"/>
          </ac:spMkLst>
        </pc:spChg>
        <pc:spChg chg="add mod">
          <ac:chgData name="Thomas W. Flanagan" userId="2859ba47-2415-45f6-8b6c-b1e23376e9ef" providerId="ADAL" clId="{2B9D4160-F14A-4B5D-A489-40F92C175458}" dt="2025-07-18T14:05:03.039" v="1314" actId="113"/>
          <ac:spMkLst>
            <pc:docMk/>
            <pc:sldMk cId="2496868078" sldId="2147475603"/>
            <ac:spMk id="3" creationId="{7B137C5C-C020-F73A-642A-716D18F8B73D}"/>
          </ac:spMkLst>
        </pc:spChg>
        <pc:spChg chg="mod">
          <ac:chgData name="Thomas W. Flanagan" userId="2859ba47-2415-45f6-8b6c-b1e23376e9ef" providerId="ADAL" clId="{2B9D4160-F14A-4B5D-A489-40F92C175458}" dt="2025-07-18T14:04:55.884" v="1313" actId="14100"/>
          <ac:spMkLst>
            <pc:docMk/>
            <pc:sldMk cId="2496868078" sldId="2147475603"/>
            <ac:spMk id="4" creationId="{30E70DCD-8FAE-81C1-7218-BA0E21E0D53B}"/>
          </ac:spMkLst>
        </pc:spChg>
        <pc:spChg chg="add mod">
          <ac:chgData name="Thomas W. Flanagan" userId="2859ba47-2415-45f6-8b6c-b1e23376e9ef" providerId="ADAL" clId="{2B9D4160-F14A-4B5D-A489-40F92C175458}" dt="2025-07-18T13:54:24.777" v="1291" actId="1035"/>
          <ac:spMkLst>
            <pc:docMk/>
            <pc:sldMk cId="2496868078" sldId="2147475603"/>
            <ac:spMk id="5" creationId="{CC025D89-E758-E247-ABE1-32ECC0F5F87D}"/>
          </ac:spMkLst>
        </pc:spChg>
        <pc:spChg chg="add mod">
          <ac:chgData name="Thomas W. Flanagan" userId="2859ba47-2415-45f6-8b6c-b1e23376e9ef" providerId="ADAL" clId="{2B9D4160-F14A-4B5D-A489-40F92C175458}" dt="2025-07-18T13:54:24.777" v="1291" actId="1035"/>
          <ac:spMkLst>
            <pc:docMk/>
            <pc:sldMk cId="2496868078" sldId="2147475603"/>
            <ac:spMk id="9" creationId="{5AB410FC-D074-6EBC-845D-B0AB2422AA46}"/>
          </ac:spMkLst>
        </pc:spChg>
        <pc:spChg chg="add mod">
          <ac:chgData name="Thomas W. Flanagan" userId="2859ba47-2415-45f6-8b6c-b1e23376e9ef" providerId="ADAL" clId="{2B9D4160-F14A-4B5D-A489-40F92C175458}" dt="2025-07-18T13:54:24.777" v="1291" actId="1035"/>
          <ac:spMkLst>
            <pc:docMk/>
            <pc:sldMk cId="2496868078" sldId="2147475603"/>
            <ac:spMk id="13" creationId="{56DB81AA-3AA2-CAAF-5E4A-3F9BE77DAF01}"/>
          </ac:spMkLst>
        </pc:spChg>
        <pc:spChg chg="add mod">
          <ac:chgData name="Thomas W. Flanagan" userId="2859ba47-2415-45f6-8b6c-b1e23376e9ef" providerId="ADAL" clId="{2B9D4160-F14A-4B5D-A489-40F92C175458}" dt="2025-07-18T13:54:24.777" v="1291" actId="1035"/>
          <ac:spMkLst>
            <pc:docMk/>
            <pc:sldMk cId="2496868078" sldId="2147475603"/>
            <ac:spMk id="15" creationId="{2360AC7E-39EF-9DC4-A0E2-525D77C9BCD9}"/>
          </ac:spMkLst>
        </pc:spChg>
        <pc:spChg chg="add mod">
          <ac:chgData name="Thomas W. Flanagan" userId="2859ba47-2415-45f6-8b6c-b1e23376e9ef" providerId="ADAL" clId="{2B9D4160-F14A-4B5D-A489-40F92C175458}" dt="2025-07-18T13:54:24.777" v="1291" actId="1035"/>
          <ac:spMkLst>
            <pc:docMk/>
            <pc:sldMk cId="2496868078" sldId="2147475603"/>
            <ac:spMk id="16" creationId="{00E6A85D-54D8-3A45-7F64-509CF58863DB}"/>
          </ac:spMkLst>
        </pc:spChg>
        <pc:spChg chg="add mod">
          <ac:chgData name="Thomas W. Flanagan" userId="2859ba47-2415-45f6-8b6c-b1e23376e9ef" providerId="ADAL" clId="{2B9D4160-F14A-4B5D-A489-40F92C175458}" dt="2025-07-18T13:54:24.777" v="1291" actId="1035"/>
          <ac:spMkLst>
            <pc:docMk/>
            <pc:sldMk cId="2496868078" sldId="2147475603"/>
            <ac:spMk id="17" creationId="{FF68C206-DA48-594E-131B-BE48E2F1C74B}"/>
          </ac:spMkLst>
        </pc:spChg>
        <pc:spChg chg="add mod">
          <ac:chgData name="Thomas W. Flanagan" userId="2859ba47-2415-45f6-8b6c-b1e23376e9ef" providerId="ADAL" clId="{2B9D4160-F14A-4B5D-A489-40F92C175458}" dt="2025-07-18T13:54:24.777" v="1291" actId="1035"/>
          <ac:spMkLst>
            <pc:docMk/>
            <pc:sldMk cId="2496868078" sldId="2147475603"/>
            <ac:spMk id="18" creationId="{1E678691-ABF6-103C-91A0-A2AA4195A66E}"/>
          </ac:spMkLst>
        </pc:spChg>
        <pc:grpChg chg="add mod">
          <ac:chgData name="Thomas W. Flanagan" userId="2859ba47-2415-45f6-8b6c-b1e23376e9ef" providerId="ADAL" clId="{2B9D4160-F14A-4B5D-A489-40F92C175458}" dt="2025-07-18T13:54:24.777" v="1291" actId="1035"/>
          <ac:grpSpMkLst>
            <pc:docMk/>
            <pc:sldMk cId="2496868078" sldId="2147475603"/>
            <ac:grpSpMk id="19" creationId="{C9A3B0D4-4D1D-B6A4-4D97-8B2231780420}"/>
          </ac:grpSpMkLst>
        </pc:grpChg>
      </pc:sldChg>
      <pc:sldChg chg="del">
        <pc:chgData name="Thomas W. Flanagan" userId="2859ba47-2415-45f6-8b6c-b1e23376e9ef" providerId="ADAL" clId="{2B9D4160-F14A-4B5D-A489-40F92C175458}" dt="2025-07-09T09:03:43.275" v="740" actId="47"/>
        <pc:sldMkLst>
          <pc:docMk/>
          <pc:sldMk cId="892019716" sldId="2147475606"/>
        </pc:sldMkLst>
      </pc:sldChg>
      <pc:sldChg chg="del">
        <pc:chgData name="Thomas W. Flanagan" userId="2859ba47-2415-45f6-8b6c-b1e23376e9ef" providerId="ADAL" clId="{2B9D4160-F14A-4B5D-A489-40F92C175458}" dt="2025-07-18T11:13:09.970" v="805" actId="47"/>
        <pc:sldMkLst>
          <pc:docMk/>
          <pc:sldMk cId="4063043402" sldId="2147475611"/>
        </pc:sldMkLst>
      </pc:sldChg>
      <pc:sldChg chg="addSp delSp modSp mod">
        <pc:chgData name="Thomas W. Flanagan" userId="2859ba47-2415-45f6-8b6c-b1e23376e9ef" providerId="ADAL" clId="{2B9D4160-F14A-4B5D-A489-40F92C175458}" dt="2025-07-09T09:07:06.617" v="768" actId="20577"/>
        <pc:sldMkLst>
          <pc:docMk/>
          <pc:sldMk cId="579547471" sldId="2147475612"/>
        </pc:sldMkLst>
      </pc:sldChg>
      <pc:sldChg chg="addSp delSp modSp del mod modNotesTx">
        <pc:chgData name="Thomas W. Flanagan" userId="2859ba47-2415-45f6-8b6c-b1e23376e9ef" providerId="ADAL" clId="{2B9D4160-F14A-4B5D-A489-40F92C175458}" dt="2025-07-18T11:11:39.747" v="802" actId="47"/>
        <pc:sldMkLst>
          <pc:docMk/>
          <pc:sldMk cId="3140461183" sldId="2147475613"/>
        </pc:sldMkLst>
      </pc:sldChg>
      <pc:sldChg chg="del">
        <pc:chgData name="Thomas W. Flanagan" userId="2859ba47-2415-45f6-8b6c-b1e23376e9ef" providerId="ADAL" clId="{2B9D4160-F14A-4B5D-A489-40F92C175458}" dt="2025-07-18T11:06:16.337" v="769" actId="47"/>
        <pc:sldMkLst>
          <pc:docMk/>
          <pc:sldMk cId="3797014442" sldId="2147475614"/>
        </pc:sldMkLst>
      </pc:sldChg>
      <pc:sldChg chg="addSp delSp modSp add del mod modNotesTx">
        <pc:chgData name="Thomas W. Flanagan" userId="2859ba47-2415-45f6-8b6c-b1e23376e9ef" providerId="ADAL" clId="{2B9D4160-F14A-4B5D-A489-40F92C175458}" dt="2025-07-18T11:11:38.180" v="801" actId="47"/>
        <pc:sldMkLst>
          <pc:docMk/>
          <pc:sldMk cId="81024550" sldId="2147475616"/>
        </pc:sldMkLst>
      </pc:sldChg>
      <pc:sldChg chg="addSp delSp modSp add del mod modNotesTx">
        <pc:chgData name="Thomas W. Flanagan" userId="2859ba47-2415-45f6-8b6c-b1e23376e9ef" providerId="ADAL" clId="{2B9D4160-F14A-4B5D-A489-40F92C175458}" dt="2025-07-18T11:13:05.660" v="804" actId="47"/>
        <pc:sldMkLst>
          <pc:docMk/>
          <pc:sldMk cId="3116069844" sldId="2147475617"/>
        </pc:sldMkLst>
      </pc:sldChg>
      <pc:sldChg chg="modSp">
        <pc:chgData name="Thomas W. Flanagan" userId="2859ba47-2415-45f6-8b6c-b1e23376e9ef" providerId="ADAL" clId="{2B9D4160-F14A-4B5D-A489-40F92C175458}" dt="2025-07-18T11:09:37.343" v="800" actId="313"/>
        <pc:sldMkLst>
          <pc:docMk/>
          <pc:sldMk cId="3155421695" sldId="2147475618"/>
        </pc:sldMkLst>
        <pc:spChg chg="mod">
          <ac:chgData name="Thomas W. Flanagan" userId="2859ba47-2415-45f6-8b6c-b1e23376e9ef" providerId="ADAL" clId="{2B9D4160-F14A-4B5D-A489-40F92C175458}" dt="2025-07-18T11:08:27.694" v="779" actId="20577"/>
          <ac:spMkLst>
            <pc:docMk/>
            <pc:sldMk cId="3155421695" sldId="2147475618"/>
            <ac:spMk id="3" creationId="{347E149F-5A1C-372E-4B89-DF5ABF1318AE}"/>
          </ac:spMkLst>
        </pc:spChg>
        <pc:spChg chg="mod">
          <ac:chgData name="Thomas W. Flanagan" userId="2859ba47-2415-45f6-8b6c-b1e23376e9ef" providerId="ADAL" clId="{2B9D4160-F14A-4B5D-A489-40F92C175458}" dt="2025-07-18T11:08:48.429" v="780" actId="20577"/>
          <ac:spMkLst>
            <pc:docMk/>
            <pc:sldMk cId="3155421695" sldId="2147475618"/>
            <ac:spMk id="5" creationId="{FE4D7330-832F-E4CD-DCC4-5F429E3BFF9F}"/>
          </ac:spMkLst>
        </pc:spChg>
        <pc:spChg chg="mod">
          <ac:chgData name="Thomas W. Flanagan" userId="2859ba47-2415-45f6-8b6c-b1e23376e9ef" providerId="ADAL" clId="{2B9D4160-F14A-4B5D-A489-40F92C175458}" dt="2025-07-18T11:09:37.343" v="800" actId="313"/>
          <ac:spMkLst>
            <pc:docMk/>
            <pc:sldMk cId="3155421695" sldId="2147475618"/>
            <ac:spMk id="7" creationId="{243593A2-0BBA-AACE-154E-1BE1BABCB0A2}"/>
          </ac:spMkLst>
        </pc:spChg>
      </pc:sldChg>
      <pc:sldChg chg="modSp mod">
        <pc:chgData name="Thomas W. Flanagan" userId="2859ba47-2415-45f6-8b6c-b1e23376e9ef" providerId="ADAL" clId="{2B9D4160-F14A-4B5D-A489-40F92C175458}" dt="2025-07-18T11:48:44.571" v="874" actId="20577"/>
        <pc:sldMkLst>
          <pc:docMk/>
          <pc:sldMk cId="3128915611" sldId="2147475619"/>
        </pc:sldMkLst>
        <pc:spChg chg="mod">
          <ac:chgData name="Thomas W. Flanagan" userId="2859ba47-2415-45f6-8b6c-b1e23376e9ef" providerId="ADAL" clId="{2B9D4160-F14A-4B5D-A489-40F92C175458}" dt="2025-07-18T11:47:24.307" v="827" actId="113"/>
          <ac:spMkLst>
            <pc:docMk/>
            <pc:sldMk cId="3128915611" sldId="2147475619"/>
            <ac:spMk id="3" creationId="{CD8D3804-177C-1EF3-9AB7-E1E1693FFDC1}"/>
          </ac:spMkLst>
        </pc:spChg>
        <pc:spChg chg="mod">
          <ac:chgData name="Thomas W. Flanagan" userId="2859ba47-2415-45f6-8b6c-b1e23376e9ef" providerId="ADAL" clId="{2B9D4160-F14A-4B5D-A489-40F92C175458}" dt="2025-07-18T11:47:46.431" v="830" actId="113"/>
          <ac:spMkLst>
            <pc:docMk/>
            <pc:sldMk cId="3128915611" sldId="2147475619"/>
            <ac:spMk id="5" creationId="{BD82A590-4547-53D3-BDE5-77572694E9A4}"/>
          </ac:spMkLst>
        </pc:spChg>
        <pc:spChg chg="mod">
          <ac:chgData name="Thomas W. Flanagan" userId="2859ba47-2415-45f6-8b6c-b1e23376e9ef" providerId="ADAL" clId="{2B9D4160-F14A-4B5D-A489-40F92C175458}" dt="2025-07-18T11:48:44.571" v="874" actId="20577"/>
          <ac:spMkLst>
            <pc:docMk/>
            <pc:sldMk cId="3128915611" sldId="2147475619"/>
            <ac:spMk id="7" creationId="{EA70882D-2947-6C43-5497-06D0F7E47706}"/>
          </ac:spMkLst>
        </pc:spChg>
        <pc:picChg chg="mod">
          <ac:chgData name="Thomas W. Flanagan" userId="2859ba47-2415-45f6-8b6c-b1e23376e9ef" providerId="ADAL" clId="{2B9D4160-F14A-4B5D-A489-40F92C175458}" dt="2025-07-18T11:38:57.833" v="815" actId="29295"/>
          <ac:picMkLst>
            <pc:docMk/>
            <pc:sldMk cId="3128915611" sldId="2147475619"/>
            <ac:picMk id="4" creationId="{FA189235-94E4-6C2B-D7D6-820FEBC0A8E9}"/>
          </ac:picMkLst>
        </pc:picChg>
      </pc:sldChg>
      <pc:sldChg chg="modSp mod">
        <pc:chgData name="Thomas W. Flanagan" userId="2859ba47-2415-45f6-8b6c-b1e23376e9ef" providerId="ADAL" clId="{2B9D4160-F14A-4B5D-A489-40F92C175458}" dt="2025-07-18T14:07:10.575" v="1321" actId="1076"/>
        <pc:sldMkLst>
          <pc:docMk/>
          <pc:sldMk cId="2056446547" sldId="2147475620"/>
        </pc:sldMkLst>
        <pc:spChg chg="mod">
          <ac:chgData name="Thomas W. Flanagan" userId="2859ba47-2415-45f6-8b6c-b1e23376e9ef" providerId="ADAL" clId="{2B9D4160-F14A-4B5D-A489-40F92C175458}" dt="2025-07-18T11:49:44.534" v="875" actId="113"/>
          <ac:spMkLst>
            <pc:docMk/>
            <pc:sldMk cId="2056446547" sldId="2147475620"/>
            <ac:spMk id="3" creationId="{51951976-18C0-FA28-FCF8-73677DFA28BB}"/>
          </ac:spMkLst>
        </pc:spChg>
        <pc:spChg chg="mod">
          <ac:chgData name="Thomas W. Flanagan" userId="2859ba47-2415-45f6-8b6c-b1e23376e9ef" providerId="ADAL" clId="{2B9D4160-F14A-4B5D-A489-40F92C175458}" dt="2025-07-18T14:07:10.575" v="1321" actId="1076"/>
          <ac:spMkLst>
            <pc:docMk/>
            <pc:sldMk cId="2056446547" sldId="2147475620"/>
            <ac:spMk id="4" creationId="{58D9EEBF-F212-1D92-6C2A-53C6BA71EC6F}"/>
          </ac:spMkLst>
        </pc:spChg>
        <pc:spChg chg="mod">
          <ac:chgData name="Thomas W. Flanagan" userId="2859ba47-2415-45f6-8b6c-b1e23376e9ef" providerId="ADAL" clId="{2B9D4160-F14A-4B5D-A489-40F92C175458}" dt="2025-07-18T11:50:16.379" v="878" actId="113"/>
          <ac:spMkLst>
            <pc:docMk/>
            <pc:sldMk cId="2056446547" sldId="2147475620"/>
            <ac:spMk id="5" creationId="{FB678714-7ABF-DED0-3D91-C241E93C4A80}"/>
          </ac:spMkLst>
        </pc:spChg>
        <pc:spChg chg="mod">
          <ac:chgData name="Thomas W. Flanagan" userId="2859ba47-2415-45f6-8b6c-b1e23376e9ef" providerId="ADAL" clId="{2B9D4160-F14A-4B5D-A489-40F92C175458}" dt="2025-07-18T11:50:39.677" v="897" actId="20577"/>
          <ac:spMkLst>
            <pc:docMk/>
            <pc:sldMk cId="2056446547" sldId="2147475620"/>
            <ac:spMk id="7" creationId="{B9D1278C-5679-A014-E9EB-30184E211721}"/>
          </ac:spMkLst>
        </pc:spChg>
      </pc:sldChg>
      <pc:sldChg chg="modSp mod">
        <pc:chgData name="Thomas W. Flanagan" userId="2859ba47-2415-45f6-8b6c-b1e23376e9ef" providerId="ADAL" clId="{2B9D4160-F14A-4B5D-A489-40F92C175458}" dt="2025-07-18T13:40:11.455" v="1279" actId="207"/>
        <pc:sldMkLst>
          <pc:docMk/>
          <pc:sldMk cId="3274389540" sldId="2147475623"/>
        </pc:sldMkLst>
      </pc:sldChg>
      <pc:sldChg chg="modSp mod">
        <pc:chgData name="Thomas W. Flanagan" userId="2859ba47-2415-45f6-8b6c-b1e23376e9ef" providerId="ADAL" clId="{2B9D4160-F14A-4B5D-A489-40F92C175458}" dt="2025-08-14T09:39:00.518" v="1363" actId="20577"/>
        <pc:sldMkLst>
          <pc:docMk/>
          <pc:sldMk cId="960563488" sldId="2147475624"/>
        </pc:sldMkLst>
        <pc:spChg chg="mod">
          <ac:chgData name="Thomas W. Flanagan" userId="2859ba47-2415-45f6-8b6c-b1e23376e9ef" providerId="ADAL" clId="{2B9D4160-F14A-4B5D-A489-40F92C175458}" dt="2025-07-18T14:09:08.153" v="1327" actId="167"/>
          <ac:spMkLst>
            <pc:docMk/>
            <pc:sldMk cId="960563488" sldId="2147475624"/>
            <ac:spMk id="3" creationId="{748B8BAB-D87E-3886-0DE1-0738B7A40480}"/>
          </ac:spMkLst>
        </pc:spChg>
        <pc:spChg chg="mod">
          <ac:chgData name="Thomas W. Flanagan" userId="2859ba47-2415-45f6-8b6c-b1e23376e9ef" providerId="ADAL" clId="{2B9D4160-F14A-4B5D-A489-40F92C175458}" dt="2025-08-14T09:39:00.518" v="1363" actId="20577"/>
          <ac:spMkLst>
            <pc:docMk/>
            <pc:sldMk cId="960563488" sldId="2147475624"/>
            <ac:spMk id="10" creationId="{62F7A03D-B35F-6654-4A5B-57124FE70CAD}"/>
          </ac:spMkLst>
        </pc:spChg>
        <pc:spChg chg="ord">
          <ac:chgData name="Thomas W. Flanagan" userId="2859ba47-2415-45f6-8b6c-b1e23376e9ef" providerId="ADAL" clId="{2B9D4160-F14A-4B5D-A489-40F92C175458}" dt="2025-07-18T14:09:24.645" v="1330" actId="167"/>
          <ac:spMkLst>
            <pc:docMk/>
            <pc:sldMk cId="960563488" sldId="2147475624"/>
            <ac:spMk id="24" creationId="{8015A2A6-B64E-1226-725F-1427D8B8CF21}"/>
          </ac:spMkLst>
        </pc:spChg>
        <pc:spChg chg="mod ord">
          <ac:chgData name="Thomas W. Flanagan" userId="2859ba47-2415-45f6-8b6c-b1e23376e9ef" providerId="ADAL" clId="{2B9D4160-F14A-4B5D-A489-40F92C175458}" dt="2025-07-18T14:09:18.795" v="1329" actId="167"/>
          <ac:spMkLst>
            <pc:docMk/>
            <pc:sldMk cId="960563488" sldId="2147475624"/>
            <ac:spMk id="26" creationId="{88A9BACC-15B9-7663-718A-E87106F8A56D}"/>
          </ac:spMkLst>
        </pc:spChg>
        <pc:grpChg chg="ord">
          <ac:chgData name="Thomas W. Flanagan" userId="2859ba47-2415-45f6-8b6c-b1e23376e9ef" providerId="ADAL" clId="{2B9D4160-F14A-4B5D-A489-40F92C175458}" dt="2025-07-18T14:09:11.964" v="1328" actId="166"/>
          <ac:grpSpMkLst>
            <pc:docMk/>
            <pc:sldMk cId="960563488" sldId="2147475624"/>
            <ac:grpSpMk id="11" creationId="{44F3462C-1AC5-54F0-C49A-EE3C8D769C3F}"/>
          </ac:grpSpMkLst>
        </pc:grpChg>
      </pc:sldChg>
      <pc:sldChg chg="modSp add del mod">
        <pc:chgData name="Thomas W. Flanagan" userId="2859ba47-2415-45f6-8b6c-b1e23376e9ef" providerId="ADAL" clId="{2B9D4160-F14A-4B5D-A489-40F92C175458}" dt="2025-07-18T13:40:16.708" v="1280" actId="47"/>
        <pc:sldMkLst>
          <pc:docMk/>
          <pc:sldMk cId="3381304059" sldId="2147475624"/>
        </pc:sldMkLst>
      </pc:sldChg>
      <pc:sldMasterChg chg="delSldLayout">
        <pc:chgData name="Thomas W. Flanagan" userId="2859ba47-2415-45f6-8b6c-b1e23376e9ef" providerId="ADAL" clId="{2B9D4160-F14A-4B5D-A489-40F92C175458}" dt="2025-08-28T14:31:36.615" v="1368" actId="47"/>
        <pc:sldMasterMkLst>
          <pc:docMk/>
          <pc:sldMasterMk cId="3046822313" sldId="2147483900"/>
        </pc:sldMasterMkLst>
        <pc:sldLayoutChg chg="del">
          <pc:chgData name="Thomas W. Flanagan" userId="2859ba47-2415-45f6-8b6c-b1e23376e9ef" providerId="ADAL" clId="{2B9D4160-F14A-4B5D-A489-40F92C175458}" dt="2025-08-28T14:31:36.615" v="1368" actId="47"/>
          <pc:sldLayoutMkLst>
            <pc:docMk/>
            <pc:sldMasterMk cId="3046822313" sldId="2147483900"/>
            <pc:sldLayoutMk cId="2937298069" sldId="2147483922"/>
          </pc:sldLayoutMkLst>
        </pc:sldLayoutChg>
      </pc:sldMasterChg>
    </pc:docChg>
  </pc:docChgLst>
  <pc:docChgLst>
    <pc:chgData name="Aleksandra Szejko" userId="72bb44d8-1e0c-4109-be82-c57a4fb81907" providerId="ADAL" clId="{2A842375-9542-4409-925B-6359B25EBC8D}"/>
    <pc:docChg chg="undo custSel addSld delSld modSld sldOrd modSection">
      <pc:chgData name="Aleksandra Szejko" userId="72bb44d8-1e0c-4109-be82-c57a4fb81907" providerId="ADAL" clId="{2A842375-9542-4409-925B-6359B25EBC8D}" dt="2025-07-18T14:19:28.010" v="4066" actId="478"/>
      <pc:docMkLst>
        <pc:docMk/>
      </pc:docMkLst>
      <pc:sldChg chg="addSp delSp modSp mod">
        <pc:chgData name="Aleksandra Szejko" userId="72bb44d8-1e0c-4109-be82-c57a4fb81907" providerId="ADAL" clId="{2A842375-9542-4409-925B-6359B25EBC8D}" dt="2025-07-16T07:33:45.916" v="1940" actId="14861"/>
        <pc:sldMkLst>
          <pc:docMk/>
          <pc:sldMk cId="2335864090" sldId="9685"/>
        </pc:sldMkLst>
        <pc:picChg chg="add mod">
          <ac:chgData name="Aleksandra Szejko" userId="72bb44d8-1e0c-4109-be82-c57a4fb81907" providerId="ADAL" clId="{2A842375-9542-4409-925B-6359B25EBC8D}" dt="2025-07-16T07:33:45.916" v="1940" actId="14861"/>
          <ac:picMkLst>
            <pc:docMk/>
            <pc:sldMk cId="2335864090" sldId="9685"/>
            <ac:picMk id="8" creationId="{2D6EE84B-3575-9111-BABD-1E3D51B060AA}"/>
          </ac:picMkLst>
        </pc:picChg>
      </pc:sldChg>
      <pc:sldChg chg="delSp modSp mod">
        <pc:chgData name="Aleksandra Szejko" userId="72bb44d8-1e0c-4109-be82-c57a4fb81907" providerId="ADAL" clId="{2A842375-9542-4409-925B-6359B25EBC8D}" dt="2025-07-18T10:36:38.415" v="1964" actId="14100"/>
        <pc:sldMkLst>
          <pc:docMk/>
          <pc:sldMk cId="924034463" sldId="2147475544"/>
        </pc:sldMkLst>
        <pc:spChg chg="mod">
          <ac:chgData name="Aleksandra Szejko" userId="72bb44d8-1e0c-4109-be82-c57a4fb81907" providerId="ADAL" clId="{2A842375-9542-4409-925B-6359B25EBC8D}" dt="2025-07-18T10:36:10.162" v="1955" actId="1076"/>
          <ac:spMkLst>
            <pc:docMk/>
            <pc:sldMk cId="924034463" sldId="2147475544"/>
            <ac:spMk id="15" creationId="{5D0A4502-55EF-ABDE-77FA-3C6E3C64E182}"/>
          </ac:spMkLst>
        </pc:spChg>
        <pc:spChg chg="mod">
          <ac:chgData name="Aleksandra Szejko" userId="72bb44d8-1e0c-4109-be82-c57a4fb81907" providerId="ADAL" clId="{2A842375-9542-4409-925B-6359B25EBC8D}" dt="2025-07-18T10:36:10.162" v="1955" actId="1076"/>
          <ac:spMkLst>
            <pc:docMk/>
            <pc:sldMk cId="924034463" sldId="2147475544"/>
            <ac:spMk id="16" creationId="{D2D6C1D8-AEA7-EF93-2F93-715830A25558}"/>
          </ac:spMkLst>
        </pc:spChg>
        <pc:spChg chg="mod">
          <ac:chgData name="Aleksandra Szejko" userId="72bb44d8-1e0c-4109-be82-c57a4fb81907" providerId="ADAL" clId="{2A842375-9542-4409-925B-6359B25EBC8D}" dt="2025-07-18T10:36:10.162" v="1955" actId="1076"/>
          <ac:spMkLst>
            <pc:docMk/>
            <pc:sldMk cId="924034463" sldId="2147475544"/>
            <ac:spMk id="17" creationId="{577954A8-A43F-8EEE-EF0F-58CD77CBECFF}"/>
          </ac:spMkLst>
        </pc:spChg>
        <pc:spChg chg="mod">
          <ac:chgData name="Aleksandra Szejko" userId="72bb44d8-1e0c-4109-be82-c57a4fb81907" providerId="ADAL" clId="{2A842375-9542-4409-925B-6359B25EBC8D}" dt="2025-07-18T10:36:10.162" v="1955" actId="1076"/>
          <ac:spMkLst>
            <pc:docMk/>
            <pc:sldMk cId="924034463" sldId="2147475544"/>
            <ac:spMk id="18" creationId="{3355BEB1-1BF6-01BA-7119-EAE30F928D17}"/>
          </ac:spMkLst>
        </pc:spChg>
        <pc:spChg chg="mod">
          <ac:chgData name="Aleksandra Szejko" userId="72bb44d8-1e0c-4109-be82-c57a4fb81907" providerId="ADAL" clId="{2A842375-9542-4409-925B-6359B25EBC8D}" dt="2025-07-18T10:36:10.162" v="1955" actId="1076"/>
          <ac:spMkLst>
            <pc:docMk/>
            <pc:sldMk cId="924034463" sldId="2147475544"/>
            <ac:spMk id="19" creationId="{B41F2829-B316-AAC7-C0D5-EF824FBC7DD5}"/>
          </ac:spMkLst>
        </pc:spChg>
        <pc:spChg chg="mod">
          <ac:chgData name="Aleksandra Szejko" userId="72bb44d8-1e0c-4109-be82-c57a4fb81907" providerId="ADAL" clId="{2A842375-9542-4409-925B-6359B25EBC8D}" dt="2025-07-18T10:36:10.162" v="1955" actId="1076"/>
          <ac:spMkLst>
            <pc:docMk/>
            <pc:sldMk cId="924034463" sldId="2147475544"/>
            <ac:spMk id="20" creationId="{F738B78C-5044-FA55-60BD-D2568DF6362F}"/>
          </ac:spMkLst>
        </pc:spChg>
        <pc:spChg chg="mod">
          <ac:chgData name="Aleksandra Szejko" userId="72bb44d8-1e0c-4109-be82-c57a4fb81907" providerId="ADAL" clId="{2A842375-9542-4409-925B-6359B25EBC8D}" dt="2025-07-18T10:36:01.635" v="1954" actId="14100"/>
          <ac:spMkLst>
            <pc:docMk/>
            <pc:sldMk cId="924034463" sldId="2147475544"/>
            <ac:spMk id="24" creationId="{BA1C8580-06FA-424B-2604-EDC514616E54}"/>
          </ac:spMkLst>
        </pc:spChg>
        <pc:grpChg chg="mod">
          <ac:chgData name="Aleksandra Szejko" userId="72bb44d8-1e0c-4109-be82-c57a4fb81907" providerId="ADAL" clId="{2A842375-9542-4409-925B-6359B25EBC8D}" dt="2025-07-18T10:36:16.867" v="1956" actId="1076"/>
          <ac:grpSpMkLst>
            <pc:docMk/>
            <pc:sldMk cId="924034463" sldId="2147475544"/>
            <ac:grpSpMk id="171" creationId="{6AE9E2BE-4D81-B039-B343-339CB23A815B}"/>
          </ac:grpSpMkLst>
        </pc:grpChg>
        <pc:grpChg chg="mod">
          <ac:chgData name="Aleksandra Szejko" userId="72bb44d8-1e0c-4109-be82-c57a4fb81907" providerId="ADAL" clId="{2A842375-9542-4409-925B-6359B25EBC8D}" dt="2025-07-18T10:36:16.867" v="1956" actId="1076"/>
          <ac:grpSpMkLst>
            <pc:docMk/>
            <pc:sldMk cId="924034463" sldId="2147475544"/>
            <ac:grpSpMk id="187" creationId="{5BC5C064-7BF9-CF69-8AF5-1155CF56B32F}"/>
          </ac:grpSpMkLst>
        </pc:grpChg>
        <pc:cxnChg chg="mod">
          <ac:chgData name="Aleksandra Szejko" userId="72bb44d8-1e0c-4109-be82-c57a4fb81907" providerId="ADAL" clId="{2A842375-9542-4409-925B-6359B25EBC8D}" dt="2025-07-18T10:36:38.415" v="1964" actId="14100"/>
          <ac:cxnSpMkLst>
            <pc:docMk/>
            <pc:sldMk cId="924034463" sldId="2147475544"/>
            <ac:cxnSpMk id="52" creationId="{C0019ABD-33E4-564C-BDBC-95CFEB326304}"/>
          </ac:cxnSpMkLst>
        </pc:cxnChg>
        <pc:cxnChg chg="mod">
          <ac:chgData name="Aleksandra Szejko" userId="72bb44d8-1e0c-4109-be82-c57a4fb81907" providerId="ADAL" clId="{2A842375-9542-4409-925B-6359B25EBC8D}" dt="2025-07-18T10:36:38.415" v="1964" actId="14100"/>
          <ac:cxnSpMkLst>
            <pc:docMk/>
            <pc:sldMk cId="924034463" sldId="2147475544"/>
            <ac:cxnSpMk id="56" creationId="{4E9CC2C8-ACB0-9BFD-9E41-A4B9D21E6D79}"/>
          </ac:cxnSpMkLst>
        </pc:cxnChg>
        <pc:cxnChg chg="mod">
          <ac:chgData name="Aleksandra Szejko" userId="72bb44d8-1e0c-4109-be82-c57a4fb81907" providerId="ADAL" clId="{2A842375-9542-4409-925B-6359B25EBC8D}" dt="2025-07-18T10:36:38.415" v="1964" actId="14100"/>
          <ac:cxnSpMkLst>
            <pc:docMk/>
            <pc:sldMk cId="924034463" sldId="2147475544"/>
            <ac:cxnSpMk id="58" creationId="{F8F68E94-A8A6-A0E1-FEAB-B1965F476F54}"/>
          </ac:cxnSpMkLst>
        </pc:cxnChg>
        <pc:cxnChg chg="mod">
          <ac:chgData name="Aleksandra Szejko" userId="72bb44d8-1e0c-4109-be82-c57a4fb81907" providerId="ADAL" clId="{2A842375-9542-4409-925B-6359B25EBC8D}" dt="2025-07-18T10:36:38.415" v="1964" actId="14100"/>
          <ac:cxnSpMkLst>
            <pc:docMk/>
            <pc:sldMk cId="924034463" sldId="2147475544"/>
            <ac:cxnSpMk id="60" creationId="{C6B3857E-07DB-52B8-F772-95CBE54F2875}"/>
          </ac:cxnSpMkLst>
        </pc:cxnChg>
      </pc:sldChg>
      <pc:sldChg chg="addSp modSp del mod">
        <pc:chgData name="Aleksandra Szejko" userId="72bb44d8-1e0c-4109-be82-c57a4fb81907" providerId="ADAL" clId="{2A842375-9542-4409-925B-6359B25EBC8D}" dt="2025-07-18T12:55:06.724" v="2298" actId="47"/>
        <pc:sldMkLst>
          <pc:docMk/>
          <pc:sldMk cId="1924466054" sldId="2147475561"/>
        </pc:sldMkLst>
      </pc:sldChg>
      <pc:sldChg chg="delSp modSp mod modTransition">
        <pc:chgData name="Aleksandra Szejko" userId="72bb44d8-1e0c-4109-be82-c57a4fb81907" providerId="ADAL" clId="{2A842375-9542-4409-925B-6359B25EBC8D}" dt="2025-07-18T14:19:28.010" v="4066" actId="478"/>
        <pc:sldMkLst>
          <pc:docMk/>
          <pc:sldMk cId="10056299" sldId="2147475586"/>
        </pc:sldMkLst>
      </pc:sldChg>
      <pc:sldChg chg="addSp delSp modSp mod">
        <pc:chgData name="Aleksandra Szejko" userId="72bb44d8-1e0c-4109-be82-c57a4fb81907" providerId="ADAL" clId="{2A842375-9542-4409-925B-6359B25EBC8D}" dt="2025-07-18T12:54:51.173" v="2297" actId="1076"/>
        <pc:sldMkLst>
          <pc:docMk/>
          <pc:sldMk cId="2286090696" sldId="2147475587"/>
        </pc:sldMkLst>
        <pc:spChg chg="mod">
          <ac:chgData name="Aleksandra Szejko" userId="72bb44d8-1e0c-4109-be82-c57a4fb81907" providerId="ADAL" clId="{2A842375-9542-4409-925B-6359B25EBC8D}" dt="2025-07-18T12:52:20.681" v="2271" actId="404"/>
          <ac:spMkLst>
            <pc:docMk/>
            <pc:sldMk cId="2286090696" sldId="2147475587"/>
            <ac:spMk id="3" creationId="{D1BB7F40-BA25-E3E0-7D76-02163F685ED1}"/>
          </ac:spMkLst>
        </pc:spChg>
        <pc:spChg chg="add mod">
          <ac:chgData name="Aleksandra Szejko" userId="72bb44d8-1e0c-4109-be82-c57a4fb81907" providerId="ADAL" clId="{2A842375-9542-4409-925B-6359B25EBC8D}" dt="2025-07-14T12:35:31.704" v="1845" actId="1076"/>
          <ac:spMkLst>
            <pc:docMk/>
            <pc:sldMk cId="2286090696" sldId="2147475587"/>
            <ac:spMk id="5" creationId="{C5DA664D-5519-A0B8-DBE4-E35C93C63929}"/>
          </ac:spMkLst>
        </pc:spChg>
        <pc:spChg chg="add mod">
          <ac:chgData name="Aleksandra Szejko" userId="72bb44d8-1e0c-4109-be82-c57a4fb81907" providerId="ADAL" clId="{2A842375-9542-4409-925B-6359B25EBC8D}" dt="2025-07-18T12:53:36.891" v="2283" actId="207"/>
          <ac:spMkLst>
            <pc:docMk/>
            <pc:sldMk cId="2286090696" sldId="2147475587"/>
            <ac:spMk id="7" creationId="{3199B9EE-A013-891C-CF3F-D8D2730120D8}"/>
          </ac:spMkLst>
        </pc:spChg>
        <pc:spChg chg="add mod">
          <ac:chgData name="Aleksandra Szejko" userId="72bb44d8-1e0c-4109-be82-c57a4fb81907" providerId="ADAL" clId="{2A842375-9542-4409-925B-6359B25EBC8D}" dt="2025-07-18T12:52:10.731" v="2269" actId="1076"/>
          <ac:spMkLst>
            <pc:docMk/>
            <pc:sldMk cId="2286090696" sldId="2147475587"/>
            <ac:spMk id="21" creationId="{BFFFC9DA-72A4-1CFC-C1C6-978474A12606}"/>
          </ac:spMkLst>
        </pc:spChg>
        <pc:spChg chg="add mod">
          <ac:chgData name="Aleksandra Szejko" userId="72bb44d8-1e0c-4109-be82-c57a4fb81907" providerId="ADAL" clId="{2A842375-9542-4409-925B-6359B25EBC8D}" dt="2025-07-18T12:52:30.058" v="2272" actId="14100"/>
          <ac:spMkLst>
            <pc:docMk/>
            <pc:sldMk cId="2286090696" sldId="2147475587"/>
            <ac:spMk id="22" creationId="{F3B3E7BF-E9F2-5DB6-3BC2-5F1BA1D1F1FA}"/>
          </ac:spMkLst>
        </pc:spChg>
        <pc:spChg chg="add mod">
          <ac:chgData name="Aleksandra Szejko" userId="72bb44d8-1e0c-4109-be82-c57a4fb81907" providerId="ADAL" clId="{2A842375-9542-4409-925B-6359B25EBC8D}" dt="2025-07-18T12:52:10.731" v="2269" actId="1076"/>
          <ac:spMkLst>
            <pc:docMk/>
            <pc:sldMk cId="2286090696" sldId="2147475587"/>
            <ac:spMk id="23" creationId="{535603D5-321B-7A9F-4F01-4F05C0A42B12}"/>
          </ac:spMkLst>
        </pc:spChg>
        <pc:spChg chg="add mod">
          <ac:chgData name="Aleksandra Szejko" userId="72bb44d8-1e0c-4109-be82-c57a4fb81907" providerId="ADAL" clId="{2A842375-9542-4409-925B-6359B25EBC8D}" dt="2025-07-18T12:52:10.731" v="2269" actId="1076"/>
          <ac:spMkLst>
            <pc:docMk/>
            <pc:sldMk cId="2286090696" sldId="2147475587"/>
            <ac:spMk id="24" creationId="{F9C3A891-BC90-9E1E-B22C-6A36D57CAB34}"/>
          </ac:spMkLst>
        </pc:spChg>
        <pc:spChg chg="add mod">
          <ac:chgData name="Aleksandra Szejko" userId="72bb44d8-1e0c-4109-be82-c57a4fb81907" providerId="ADAL" clId="{2A842375-9542-4409-925B-6359B25EBC8D}" dt="2025-07-18T12:52:10.731" v="2269" actId="1076"/>
          <ac:spMkLst>
            <pc:docMk/>
            <pc:sldMk cId="2286090696" sldId="2147475587"/>
            <ac:spMk id="25" creationId="{5CC79E63-B12A-A9B5-2A76-145F457E2022}"/>
          </ac:spMkLst>
        </pc:spChg>
        <pc:spChg chg="add mod">
          <ac:chgData name="Aleksandra Szejko" userId="72bb44d8-1e0c-4109-be82-c57a4fb81907" providerId="ADAL" clId="{2A842375-9542-4409-925B-6359B25EBC8D}" dt="2025-07-18T12:52:10.731" v="2269" actId="1076"/>
          <ac:spMkLst>
            <pc:docMk/>
            <pc:sldMk cId="2286090696" sldId="2147475587"/>
            <ac:spMk id="26" creationId="{1406868A-3B02-B5A4-A1C7-A40C9B18E0B0}"/>
          </ac:spMkLst>
        </pc:spChg>
        <pc:spChg chg="add mod">
          <ac:chgData name="Aleksandra Szejko" userId="72bb44d8-1e0c-4109-be82-c57a4fb81907" providerId="ADAL" clId="{2A842375-9542-4409-925B-6359B25EBC8D}" dt="2025-07-18T12:52:10.731" v="2269" actId="1076"/>
          <ac:spMkLst>
            <pc:docMk/>
            <pc:sldMk cId="2286090696" sldId="2147475587"/>
            <ac:spMk id="27" creationId="{27C713AE-9281-FA1F-FB3D-A36D2DE37B0D}"/>
          </ac:spMkLst>
        </pc:spChg>
        <pc:spChg chg="add mod">
          <ac:chgData name="Aleksandra Szejko" userId="72bb44d8-1e0c-4109-be82-c57a4fb81907" providerId="ADAL" clId="{2A842375-9542-4409-925B-6359B25EBC8D}" dt="2025-07-18T12:54:51.173" v="2297" actId="1076"/>
          <ac:spMkLst>
            <pc:docMk/>
            <pc:sldMk cId="2286090696" sldId="2147475587"/>
            <ac:spMk id="32" creationId="{D18AE060-5E44-05A5-7F53-9BC5DE9040BC}"/>
          </ac:spMkLst>
        </pc:spChg>
        <pc:spChg chg="add mod">
          <ac:chgData name="Aleksandra Szejko" userId="72bb44d8-1e0c-4109-be82-c57a4fb81907" providerId="ADAL" clId="{2A842375-9542-4409-925B-6359B25EBC8D}" dt="2025-07-18T12:54:51.173" v="2297" actId="1076"/>
          <ac:spMkLst>
            <pc:docMk/>
            <pc:sldMk cId="2286090696" sldId="2147475587"/>
            <ac:spMk id="33" creationId="{0A1113FE-1457-D30D-A38E-25FF1949D772}"/>
          </ac:spMkLst>
        </pc:spChg>
        <pc:spChg chg="add mod">
          <ac:chgData name="Aleksandra Szejko" userId="72bb44d8-1e0c-4109-be82-c57a4fb81907" providerId="ADAL" clId="{2A842375-9542-4409-925B-6359B25EBC8D}" dt="2025-07-18T12:54:51.173" v="2297" actId="1076"/>
          <ac:spMkLst>
            <pc:docMk/>
            <pc:sldMk cId="2286090696" sldId="2147475587"/>
            <ac:spMk id="34" creationId="{E7931BBA-8921-00AC-90B9-4B2215166ED9}"/>
          </ac:spMkLst>
        </pc:spChg>
        <pc:spChg chg="add mod">
          <ac:chgData name="Aleksandra Szejko" userId="72bb44d8-1e0c-4109-be82-c57a4fb81907" providerId="ADAL" clId="{2A842375-9542-4409-925B-6359B25EBC8D}" dt="2025-07-18T12:54:51.173" v="2297" actId="1076"/>
          <ac:spMkLst>
            <pc:docMk/>
            <pc:sldMk cId="2286090696" sldId="2147475587"/>
            <ac:spMk id="35" creationId="{F27453CA-685E-FE52-31C8-20A13C7257B6}"/>
          </ac:spMkLst>
        </pc:spChg>
        <pc:picChg chg="add mod">
          <ac:chgData name="Aleksandra Szejko" userId="72bb44d8-1e0c-4109-be82-c57a4fb81907" providerId="ADAL" clId="{2A842375-9542-4409-925B-6359B25EBC8D}" dt="2025-07-18T12:40:45.948" v="2088" actId="1076"/>
          <ac:picMkLst>
            <pc:docMk/>
            <pc:sldMk cId="2286090696" sldId="2147475587"/>
            <ac:picMk id="20" creationId="{B850E466-9EBF-4815-348A-BBBBAC961E47}"/>
          </ac:picMkLst>
        </pc:picChg>
      </pc:sldChg>
      <pc:sldChg chg="modSp mod">
        <pc:chgData name="Aleksandra Szejko" userId="72bb44d8-1e0c-4109-be82-c57a4fb81907" providerId="ADAL" clId="{2A842375-9542-4409-925B-6359B25EBC8D}" dt="2025-07-14T12:43:02.026" v="1854" actId="2710"/>
        <pc:sldMkLst>
          <pc:docMk/>
          <pc:sldMk cId="0" sldId="2147475589"/>
        </pc:sldMkLst>
        <pc:spChg chg="mod">
          <ac:chgData name="Aleksandra Szejko" userId="72bb44d8-1e0c-4109-be82-c57a4fb81907" providerId="ADAL" clId="{2A842375-9542-4409-925B-6359B25EBC8D}" dt="2025-07-14T12:43:02.026" v="1854" actId="2710"/>
          <ac:spMkLst>
            <pc:docMk/>
            <pc:sldMk cId="0" sldId="2147475589"/>
            <ac:spMk id="147" creationId="{384E8FE1-ED7B-4935-8C3A-89AA700BA7F0}"/>
          </ac:spMkLst>
        </pc:spChg>
      </pc:sldChg>
      <pc:sldChg chg="addSp delSp modSp mod modAnim">
        <pc:chgData name="Aleksandra Szejko" userId="72bb44d8-1e0c-4109-be82-c57a4fb81907" providerId="ADAL" clId="{2A842375-9542-4409-925B-6359B25EBC8D}" dt="2025-07-14T10:03:28.091" v="468" actId="1076"/>
        <pc:sldMkLst>
          <pc:docMk/>
          <pc:sldMk cId="2646260899" sldId="2147475601"/>
        </pc:sldMkLst>
        <pc:graphicFrameChg chg="mod modGraphic">
          <ac:chgData name="Aleksandra Szejko" userId="72bb44d8-1e0c-4109-be82-c57a4fb81907" providerId="ADAL" clId="{2A842375-9542-4409-925B-6359B25EBC8D}" dt="2025-07-14T09:01:10.639" v="431" actId="1076"/>
          <ac:graphicFrameMkLst>
            <pc:docMk/>
            <pc:sldMk cId="2646260899" sldId="2147475601"/>
            <ac:graphicFrameMk id="7" creationId="{E0CF2557-5FFA-FDC8-BD82-EAB4E0ACFDDA}"/>
          </ac:graphicFrameMkLst>
        </pc:graphicFrameChg>
        <pc:picChg chg="add del">
          <ac:chgData name="Aleksandra Szejko" userId="72bb44d8-1e0c-4109-be82-c57a4fb81907" providerId="ADAL" clId="{2A842375-9542-4409-925B-6359B25EBC8D}" dt="2025-07-14T09:01:28.441" v="435" actId="478"/>
          <ac:picMkLst>
            <pc:docMk/>
            <pc:sldMk cId="2646260899" sldId="2147475601"/>
            <ac:picMk id="6" creationId="{BC52BB9B-E84B-7F6B-DD14-24C81B01D822}"/>
          </ac:picMkLst>
        </pc:picChg>
        <pc:picChg chg="add mod">
          <ac:chgData name="Aleksandra Szejko" userId="72bb44d8-1e0c-4109-be82-c57a4fb81907" providerId="ADAL" clId="{2A842375-9542-4409-925B-6359B25EBC8D}" dt="2025-07-14T09:01:18.425" v="432" actId="1076"/>
          <ac:picMkLst>
            <pc:docMk/>
            <pc:sldMk cId="2646260899" sldId="2147475601"/>
            <ac:picMk id="8" creationId="{47BC7DCF-CF5B-0E31-084F-07E9D4C8CCF4}"/>
          </ac:picMkLst>
        </pc:picChg>
        <pc:picChg chg="mod">
          <ac:chgData name="Aleksandra Szejko" userId="72bb44d8-1e0c-4109-be82-c57a4fb81907" providerId="ADAL" clId="{2A842375-9542-4409-925B-6359B25EBC8D}" dt="2025-07-14T10:03:28.091" v="468" actId="1076"/>
          <ac:picMkLst>
            <pc:docMk/>
            <pc:sldMk cId="2646260899" sldId="2147475601"/>
            <ac:picMk id="9" creationId="{0E98DB36-21F2-516A-3D02-6E60C2D0BFE0}"/>
          </ac:picMkLst>
        </pc:picChg>
        <pc:picChg chg="add mod">
          <ac:chgData name="Aleksandra Szejko" userId="72bb44d8-1e0c-4109-be82-c57a4fb81907" providerId="ADAL" clId="{2A842375-9542-4409-925B-6359B25EBC8D}" dt="2025-07-14T09:01:18.425" v="432" actId="1076"/>
          <ac:picMkLst>
            <pc:docMk/>
            <pc:sldMk cId="2646260899" sldId="2147475601"/>
            <ac:picMk id="11" creationId="{D2BB2A12-0561-10B8-8A27-E84E1C1291D9}"/>
          </ac:picMkLst>
        </pc:picChg>
        <pc:picChg chg="add mod">
          <ac:chgData name="Aleksandra Szejko" userId="72bb44d8-1e0c-4109-be82-c57a4fb81907" providerId="ADAL" clId="{2A842375-9542-4409-925B-6359B25EBC8D}" dt="2025-07-14T09:01:18.425" v="432" actId="1076"/>
          <ac:picMkLst>
            <pc:docMk/>
            <pc:sldMk cId="2646260899" sldId="2147475601"/>
            <ac:picMk id="13" creationId="{7978C295-97F8-84BC-DDE4-BD28A0277790}"/>
          </ac:picMkLst>
        </pc:picChg>
        <pc:picChg chg="add mod">
          <ac:chgData name="Aleksandra Szejko" userId="72bb44d8-1e0c-4109-be82-c57a4fb81907" providerId="ADAL" clId="{2A842375-9542-4409-925B-6359B25EBC8D}" dt="2025-07-14T09:01:18.425" v="432" actId="1076"/>
          <ac:picMkLst>
            <pc:docMk/>
            <pc:sldMk cId="2646260899" sldId="2147475601"/>
            <ac:picMk id="17" creationId="{462B9D9A-8B61-B517-E954-23CB27CD4C0F}"/>
          </ac:picMkLst>
        </pc:picChg>
      </pc:sldChg>
      <pc:sldChg chg="modSp mod">
        <pc:chgData name="Aleksandra Szejko" userId="72bb44d8-1e0c-4109-be82-c57a4fb81907" providerId="ADAL" clId="{2A842375-9542-4409-925B-6359B25EBC8D}" dt="2025-07-18T13:33:56.655" v="3042" actId="113"/>
        <pc:sldMkLst>
          <pc:docMk/>
          <pc:sldMk cId="2496868078" sldId="2147475603"/>
        </pc:sldMkLst>
        <pc:spChg chg="mod">
          <ac:chgData name="Aleksandra Szejko" userId="72bb44d8-1e0c-4109-be82-c57a4fb81907" providerId="ADAL" clId="{2A842375-9542-4409-925B-6359B25EBC8D}" dt="2025-07-18T13:27:59.693" v="2945" actId="1076"/>
          <ac:spMkLst>
            <pc:docMk/>
            <pc:sldMk cId="2496868078" sldId="2147475603"/>
            <ac:spMk id="2" creationId="{1AC5C5CE-A3CC-B0A3-872A-A9AC6B440EE4}"/>
          </ac:spMkLst>
        </pc:spChg>
        <pc:spChg chg="mod">
          <ac:chgData name="Aleksandra Szejko" userId="72bb44d8-1e0c-4109-be82-c57a4fb81907" providerId="ADAL" clId="{2A842375-9542-4409-925B-6359B25EBC8D}" dt="2025-07-18T13:33:56.655" v="3042" actId="113"/>
          <ac:spMkLst>
            <pc:docMk/>
            <pc:sldMk cId="2496868078" sldId="2147475603"/>
            <ac:spMk id="3" creationId="{7B137C5C-C020-F73A-642A-716D18F8B73D}"/>
          </ac:spMkLst>
        </pc:spChg>
        <pc:spChg chg="mod">
          <ac:chgData name="Aleksandra Szejko" userId="72bb44d8-1e0c-4109-be82-c57a4fb81907" providerId="ADAL" clId="{2A842375-9542-4409-925B-6359B25EBC8D}" dt="2025-07-18T13:33:40.546" v="3040" actId="2711"/>
          <ac:spMkLst>
            <pc:docMk/>
            <pc:sldMk cId="2496868078" sldId="2147475603"/>
            <ac:spMk id="4" creationId="{30E70DCD-8FAE-81C1-7218-BA0E21E0D53B}"/>
          </ac:spMkLst>
        </pc:spChg>
        <pc:spChg chg="mod">
          <ac:chgData name="Aleksandra Szejko" userId="72bb44d8-1e0c-4109-be82-c57a4fb81907" providerId="ADAL" clId="{2A842375-9542-4409-925B-6359B25EBC8D}" dt="2025-07-18T13:26:10.247" v="2932" actId="207"/>
          <ac:spMkLst>
            <pc:docMk/>
            <pc:sldMk cId="2496868078" sldId="2147475603"/>
            <ac:spMk id="5" creationId="{CC025D89-E758-E247-ABE1-32ECC0F5F87D}"/>
          </ac:spMkLst>
        </pc:spChg>
        <pc:spChg chg="mod">
          <ac:chgData name="Aleksandra Szejko" userId="72bb44d8-1e0c-4109-be82-c57a4fb81907" providerId="ADAL" clId="{2A842375-9542-4409-925B-6359B25EBC8D}" dt="2025-07-18T13:26:10.247" v="2932" actId="207"/>
          <ac:spMkLst>
            <pc:docMk/>
            <pc:sldMk cId="2496868078" sldId="2147475603"/>
            <ac:spMk id="9" creationId="{5AB410FC-D074-6EBC-845D-B0AB2422AA46}"/>
          </ac:spMkLst>
        </pc:spChg>
        <pc:spChg chg="mod">
          <ac:chgData name="Aleksandra Szejko" userId="72bb44d8-1e0c-4109-be82-c57a4fb81907" providerId="ADAL" clId="{2A842375-9542-4409-925B-6359B25EBC8D}" dt="2025-07-18T13:32:27.263" v="3034" actId="207"/>
          <ac:spMkLst>
            <pc:docMk/>
            <pc:sldMk cId="2496868078" sldId="2147475603"/>
            <ac:spMk id="13" creationId="{56DB81AA-3AA2-CAAF-5E4A-3F9BE77DAF01}"/>
          </ac:spMkLst>
        </pc:spChg>
        <pc:spChg chg="mod">
          <ac:chgData name="Aleksandra Szejko" userId="72bb44d8-1e0c-4109-be82-c57a4fb81907" providerId="ADAL" clId="{2A842375-9542-4409-925B-6359B25EBC8D}" dt="2025-07-18T13:26:10.247" v="2932" actId="207"/>
          <ac:spMkLst>
            <pc:docMk/>
            <pc:sldMk cId="2496868078" sldId="2147475603"/>
            <ac:spMk id="15" creationId="{2360AC7E-39EF-9DC4-A0E2-525D77C9BCD9}"/>
          </ac:spMkLst>
        </pc:spChg>
        <pc:spChg chg="mod">
          <ac:chgData name="Aleksandra Szejko" userId="72bb44d8-1e0c-4109-be82-c57a4fb81907" providerId="ADAL" clId="{2A842375-9542-4409-925B-6359B25EBC8D}" dt="2025-07-18T13:26:10.247" v="2932" actId="207"/>
          <ac:spMkLst>
            <pc:docMk/>
            <pc:sldMk cId="2496868078" sldId="2147475603"/>
            <ac:spMk id="16" creationId="{00E6A85D-54D8-3A45-7F64-509CF58863DB}"/>
          </ac:spMkLst>
        </pc:spChg>
        <pc:spChg chg="mod">
          <ac:chgData name="Aleksandra Szejko" userId="72bb44d8-1e0c-4109-be82-c57a4fb81907" providerId="ADAL" clId="{2A842375-9542-4409-925B-6359B25EBC8D}" dt="2025-07-18T13:26:10.247" v="2932" actId="207"/>
          <ac:spMkLst>
            <pc:docMk/>
            <pc:sldMk cId="2496868078" sldId="2147475603"/>
            <ac:spMk id="17" creationId="{FF68C206-DA48-594E-131B-BE48E2F1C74B}"/>
          </ac:spMkLst>
        </pc:spChg>
        <pc:spChg chg="mod">
          <ac:chgData name="Aleksandra Szejko" userId="72bb44d8-1e0c-4109-be82-c57a4fb81907" providerId="ADAL" clId="{2A842375-9542-4409-925B-6359B25EBC8D}" dt="2025-07-18T13:32:44.118" v="3038" actId="207"/>
          <ac:spMkLst>
            <pc:docMk/>
            <pc:sldMk cId="2496868078" sldId="2147475603"/>
            <ac:spMk id="18" creationId="{1E678691-ABF6-103C-91A0-A2AA4195A66E}"/>
          </ac:spMkLst>
        </pc:spChg>
        <pc:grpChg chg="mod">
          <ac:chgData name="Aleksandra Szejko" userId="72bb44d8-1e0c-4109-be82-c57a4fb81907" providerId="ADAL" clId="{2A842375-9542-4409-925B-6359B25EBC8D}" dt="2025-07-18T13:29:18.041" v="2973" actId="14100"/>
          <ac:grpSpMkLst>
            <pc:docMk/>
            <pc:sldMk cId="2496868078" sldId="2147475603"/>
            <ac:grpSpMk id="19" creationId="{C9A3B0D4-4D1D-B6A4-4D97-8B2231780420}"/>
          </ac:grpSpMkLst>
        </pc:grpChg>
      </pc:sldChg>
      <pc:sldChg chg="del modTransition">
        <pc:chgData name="Aleksandra Szejko" userId="72bb44d8-1e0c-4109-be82-c57a4fb81907" providerId="ADAL" clId="{2A842375-9542-4409-925B-6359B25EBC8D}" dt="2025-07-18T13:52:02.910" v="3745" actId="47"/>
        <pc:sldMkLst>
          <pc:docMk/>
          <pc:sldMk cId="579547471" sldId="2147475612"/>
        </pc:sldMkLst>
      </pc:sldChg>
      <pc:sldChg chg="mod modShow">
        <pc:chgData name="Aleksandra Szejko" userId="72bb44d8-1e0c-4109-be82-c57a4fb81907" providerId="ADAL" clId="{2A842375-9542-4409-925B-6359B25EBC8D}" dt="2025-07-14T12:14:31.647" v="1744" actId="729"/>
        <pc:sldMkLst>
          <pc:docMk/>
          <pc:sldMk cId="3140461183" sldId="2147475613"/>
        </pc:sldMkLst>
      </pc:sldChg>
      <pc:sldChg chg="mod modShow">
        <pc:chgData name="Aleksandra Szejko" userId="72bb44d8-1e0c-4109-be82-c57a4fb81907" providerId="ADAL" clId="{2A842375-9542-4409-925B-6359B25EBC8D}" dt="2025-07-14T12:14:29.834" v="1743" actId="729"/>
        <pc:sldMkLst>
          <pc:docMk/>
          <pc:sldMk cId="81024550" sldId="2147475616"/>
        </pc:sldMkLst>
      </pc:sldChg>
      <pc:sldChg chg="mod modShow">
        <pc:chgData name="Aleksandra Szejko" userId="72bb44d8-1e0c-4109-be82-c57a4fb81907" providerId="ADAL" clId="{2A842375-9542-4409-925B-6359B25EBC8D}" dt="2025-07-14T12:14:32.887" v="1745" actId="729"/>
        <pc:sldMkLst>
          <pc:docMk/>
          <pc:sldMk cId="3116069844" sldId="2147475617"/>
        </pc:sldMkLst>
      </pc:sldChg>
      <pc:sldChg chg="addSp delSp modSp add mod modTransition setBg delAnim modAnim">
        <pc:chgData name="Aleksandra Szejko" userId="72bb44d8-1e0c-4109-be82-c57a4fb81907" providerId="ADAL" clId="{2A842375-9542-4409-925B-6359B25EBC8D}" dt="2025-07-18T10:34:13.585" v="1943"/>
        <pc:sldMkLst>
          <pc:docMk/>
          <pc:sldMk cId="3155421695" sldId="2147475618"/>
        </pc:sldMkLst>
        <pc:spChg chg="add mod">
          <ac:chgData name="Aleksandra Szejko" userId="72bb44d8-1e0c-4109-be82-c57a4fb81907" providerId="ADAL" clId="{2A842375-9542-4409-925B-6359B25EBC8D}" dt="2025-07-14T12:27:10.746" v="1791" actId="113"/>
          <ac:spMkLst>
            <pc:docMk/>
            <pc:sldMk cId="3155421695" sldId="2147475618"/>
            <ac:spMk id="3" creationId="{347E149F-5A1C-372E-4B89-DF5ABF1318AE}"/>
          </ac:spMkLst>
        </pc:spChg>
        <pc:spChg chg="mod">
          <ac:chgData name="Aleksandra Szejko" userId="72bb44d8-1e0c-4109-be82-c57a4fb81907" providerId="ADAL" clId="{2A842375-9542-4409-925B-6359B25EBC8D}" dt="2025-07-14T10:40:01.910" v="706" actId="122"/>
          <ac:spMkLst>
            <pc:docMk/>
            <pc:sldMk cId="3155421695" sldId="2147475618"/>
            <ac:spMk id="4" creationId="{FA0B67EC-9D78-2FE9-66DD-901F28F443C2}"/>
          </ac:spMkLst>
        </pc:spChg>
        <pc:spChg chg="add mod">
          <ac:chgData name="Aleksandra Szejko" userId="72bb44d8-1e0c-4109-be82-c57a4fb81907" providerId="ADAL" clId="{2A842375-9542-4409-925B-6359B25EBC8D}" dt="2025-07-14T12:27:18.043" v="1792" actId="113"/>
          <ac:spMkLst>
            <pc:docMk/>
            <pc:sldMk cId="3155421695" sldId="2147475618"/>
            <ac:spMk id="5" creationId="{FE4D7330-832F-E4CD-DCC4-5F429E3BFF9F}"/>
          </ac:spMkLst>
        </pc:spChg>
        <pc:spChg chg="mod">
          <ac:chgData name="Aleksandra Szejko" userId="72bb44d8-1e0c-4109-be82-c57a4fb81907" providerId="ADAL" clId="{2A842375-9542-4409-925B-6359B25EBC8D}" dt="2025-07-14T10:40:01.910" v="706" actId="122"/>
          <ac:spMkLst>
            <pc:docMk/>
            <pc:sldMk cId="3155421695" sldId="2147475618"/>
            <ac:spMk id="6" creationId="{1EF2D81A-5B53-8213-EB3E-FB0DC0047BDB}"/>
          </ac:spMkLst>
        </pc:spChg>
        <pc:spChg chg="add mod">
          <ac:chgData name="Aleksandra Szejko" userId="72bb44d8-1e0c-4109-be82-c57a4fb81907" providerId="ADAL" clId="{2A842375-9542-4409-925B-6359B25EBC8D}" dt="2025-07-14T11:53:50.233" v="1600" actId="1076"/>
          <ac:spMkLst>
            <pc:docMk/>
            <pc:sldMk cId="3155421695" sldId="2147475618"/>
            <ac:spMk id="7" creationId="{243593A2-0BBA-AACE-154E-1BE1BABCB0A2}"/>
          </ac:spMkLst>
        </pc:spChg>
        <pc:spChg chg="add mod">
          <ac:chgData name="Aleksandra Szejko" userId="72bb44d8-1e0c-4109-be82-c57a4fb81907" providerId="ADAL" clId="{2A842375-9542-4409-925B-6359B25EBC8D}" dt="2025-07-14T11:35:25.526" v="1196" actId="1076"/>
          <ac:spMkLst>
            <pc:docMk/>
            <pc:sldMk cId="3155421695" sldId="2147475618"/>
            <ac:spMk id="8" creationId="{584DEED2-E5FB-6619-D117-BF5372A4540D}"/>
          </ac:spMkLst>
        </pc:spChg>
        <pc:spChg chg="add mod">
          <ac:chgData name="Aleksandra Szejko" userId="72bb44d8-1e0c-4109-be82-c57a4fb81907" providerId="ADAL" clId="{2A842375-9542-4409-925B-6359B25EBC8D}" dt="2025-07-14T12:23:40.940" v="1789" actId="207"/>
          <ac:spMkLst>
            <pc:docMk/>
            <pc:sldMk cId="3155421695" sldId="2147475618"/>
            <ac:spMk id="9" creationId="{A0F00010-19C3-9A08-2F26-BCA813BECA65}"/>
          </ac:spMkLst>
        </pc:spChg>
        <pc:spChg chg="add mod">
          <ac:chgData name="Aleksandra Szejko" userId="72bb44d8-1e0c-4109-be82-c57a4fb81907" providerId="ADAL" clId="{2A842375-9542-4409-925B-6359B25EBC8D}" dt="2025-07-14T12:23:47.234" v="1790" actId="207"/>
          <ac:spMkLst>
            <pc:docMk/>
            <pc:sldMk cId="3155421695" sldId="2147475618"/>
            <ac:spMk id="10" creationId="{E8437EF2-F554-1021-D2C5-99578DE67F5E}"/>
          </ac:spMkLst>
        </pc:spChg>
        <pc:spChg chg="add mod ord">
          <ac:chgData name="Aleksandra Szejko" userId="72bb44d8-1e0c-4109-be82-c57a4fb81907" providerId="ADAL" clId="{2A842375-9542-4409-925B-6359B25EBC8D}" dt="2025-07-14T12:27:37.100" v="1794" actId="34135"/>
          <ac:spMkLst>
            <pc:docMk/>
            <pc:sldMk cId="3155421695" sldId="2147475618"/>
            <ac:spMk id="18" creationId="{94934714-0F7A-A72F-50C5-2BEFC36EBDA1}"/>
          </ac:spMkLst>
        </pc:spChg>
        <pc:spChg chg="add mod ord">
          <ac:chgData name="Aleksandra Szejko" userId="72bb44d8-1e0c-4109-be82-c57a4fb81907" providerId="ADAL" clId="{2A842375-9542-4409-925B-6359B25EBC8D}" dt="2025-07-14T12:27:35.240" v="1793" actId="34135"/>
          <ac:spMkLst>
            <pc:docMk/>
            <pc:sldMk cId="3155421695" sldId="2147475618"/>
            <ac:spMk id="19" creationId="{52221C44-2E5C-11F6-D74B-CDC2B7BB030E}"/>
          </ac:spMkLst>
        </pc:spChg>
        <pc:picChg chg="add mod ord modCrop">
          <ac:chgData name="Aleksandra Szejko" userId="72bb44d8-1e0c-4109-be82-c57a4fb81907" providerId="ADAL" clId="{2A842375-9542-4409-925B-6359B25EBC8D}" dt="2025-07-14T12:15:44.381" v="1754" actId="732"/>
          <ac:picMkLst>
            <pc:docMk/>
            <pc:sldMk cId="3155421695" sldId="2147475618"/>
            <ac:picMk id="25" creationId="{53765109-1483-4F3B-299E-32F05FB9E788}"/>
          </ac:picMkLst>
        </pc:picChg>
        <pc:cxnChg chg="add mod">
          <ac:chgData name="Aleksandra Szejko" userId="72bb44d8-1e0c-4109-be82-c57a4fb81907" providerId="ADAL" clId="{2A842375-9542-4409-925B-6359B25EBC8D}" dt="2025-07-14T12:23:30.688" v="1786"/>
          <ac:cxnSpMkLst>
            <pc:docMk/>
            <pc:sldMk cId="3155421695" sldId="2147475618"/>
            <ac:cxnSpMk id="26" creationId="{A3819011-82CB-4A38-65E9-D8D51B3DED4D}"/>
          </ac:cxnSpMkLst>
        </pc:cxnChg>
        <pc:cxnChg chg="add mod">
          <ac:chgData name="Aleksandra Szejko" userId="72bb44d8-1e0c-4109-be82-c57a4fb81907" providerId="ADAL" clId="{2A842375-9542-4409-925B-6359B25EBC8D}" dt="2025-07-14T12:23:30.688" v="1786"/>
          <ac:cxnSpMkLst>
            <pc:docMk/>
            <pc:sldMk cId="3155421695" sldId="2147475618"/>
            <ac:cxnSpMk id="27" creationId="{57E28F8C-9110-5C56-0FE2-B043BC395662}"/>
          </ac:cxnSpMkLst>
        </pc:cxnChg>
        <pc:cxnChg chg="add mod">
          <ac:chgData name="Aleksandra Szejko" userId="72bb44d8-1e0c-4109-be82-c57a4fb81907" providerId="ADAL" clId="{2A842375-9542-4409-925B-6359B25EBC8D}" dt="2025-07-14T12:23:30.688" v="1786"/>
          <ac:cxnSpMkLst>
            <pc:docMk/>
            <pc:sldMk cId="3155421695" sldId="2147475618"/>
            <ac:cxnSpMk id="28" creationId="{FF98D1C6-42D0-C29F-E4B0-270464521BA0}"/>
          </ac:cxnSpMkLst>
        </pc:cxnChg>
      </pc:sldChg>
      <pc:sldChg chg="addSp delSp modSp add del mod">
        <pc:chgData name="Aleksandra Szejko" userId="72bb44d8-1e0c-4109-be82-c57a4fb81907" providerId="ADAL" clId="{2A842375-9542-4409-925B-6359B25EBC8D}" dt="2025-07-14T11:56:56.818" v="1615" actId="47"/>
        <pc:sldMkLst>
          <pc:docMk/>
          <pc:sldMk cId="1195701228" sldId="2147475619"/>
        </pc:sldMkLst>
      </pc:sldChg>
      <pc:sldChg chg="addSp delSp modSp add mod ord modTransition modAnim">
        <pc:chgData name="Aleksandra Szejko" userId="72bb44d8-1e0c-4109-be82-c57a4fb81907" providerId="ADAL" clId="{2A842375-9542-4409-925B-6359B25EBC8D}" dt="2025-07-18T11:29:44.779" v="2049" actId="29295"/>
        <pc:sldMkLst>
          <pc:docMk/>
          <pc:sldMk cId="3128915611" sldId="2147475619"/>
        </pc:sldMkLst>
        <pc:spChg chg="mod">
          <ac:chgData name="Aleksandra Szejko" userId="72bb44d8-1e0c-4109-be82-c57a4fb81907" providerId="ADAL" clId="{2A842375-9542-4409-925B-6359B25EBC8D}" dt="2025-07-14T12:16:27.802" v="1758" actId="20577"/>
          <ac:spMkLst>
            <pc:docMk/>
            <pc:sldMk cId="3128915611" sldId="2147475619"/>
            <ac:spMk id="3" creationId="{CD8D3804-177C-1EF3-9AB7-E1E1693FFDC1}"/>
          </ac:spMkLst>
        </pc:spChg>
        <pc:spChg chg="mod">
          <ac:chgData name="Aleksandra Szejko" userId="72bb44d8-1e0c-4109-be82-c57a4fb81907" providerId="ADAL" clId="{2A842375-9542-4409-925B-6359B25EBC8D}" dt="2025-07-14T12:16:54.924" v="1762" actId="1035"/>
          <ac:spMkLst>
            <pc:docMk/>
            <pc:sldMk cId="3128915611" sldId="2147475619"/>
            <ac:spMk id="5" creationId="{BD82A590-4547-53D3-BDE5-77572694E9A4}"/>
          </ac:spMkLst>
        </pc:spChg>
        <pc:spChg chg="mod">
          <ac:chgData name="Aleksandra Szejko" userId="72bb44d8-1e0c-4109-be82-c57a4fb81907" providerId="ADAL" clId="{2A842375-9542-4409-925B-6359B25EBC8D}" dt="2025-07-18T11:28:24.414" v="2031" actId="20577"/>
          <ac:spMkLst>
            <pc:docMk/>
            <pc:sldMk cId="3128915611" sldId="2147475619"/>
            <ac:spMk id="7" creationId="{EA70882D-2947-6C43-5497-06D0F7E47706}"/>
          </ac:spMkLst>
        </pc:spChg>
        <pc:spChg chg="mod">
          <ac:chgData name="Aleksandra Szejko" userId="72bb44d8-1e0c-4109-be82-c57a4fb81907" providerId="ADAL" clId="{2A842375-9542-4409-925B-6359B25EBC8D}" dt="2025-07-14T12:21:01.040" v="1769" actId="207"/>
          <ac:spMkLst>
            <pc:docMk/>
            <pc:sldMk cId="3128915611" sldId="2147475619"/>
            <ac:spMk id="8" creationId="{CF2E5884-C3DA-9B10-F754-2B85C8ED9E48}"/>
          </ac:spMkLst>
        </pc:spChg>
        <pc:spChg chg="mod">
          <ac:chgData name="Aleksandra Szejko" userId="72bb44d8-1e0c-4109-be82-c57a4fb81907" providerId="ADAL" clId="{2A842375-9542-4409-925B-6359B25EBC8D}" dt="2025-07-14T12:20:31.782" v="1763" actId="207"/>
          <ac:spMkLst>
            <pc:docMk/>
            <pc:sldMk cId="3128915611" sldId="2147475619"/>
            <ac:spMk id="9" creationId="{54D282F1-E774-47A7-73B1-78004DFA596D}"/>
          </ac:spMkLst>
        </pc:spChg>
        <pc:spChg chg="mod">
          <ac:chgData name="Aleksandra Szejko" userId="72bb44d8-1e0c-4109-be82-c57a4fb81907" providerId="ADAL" clId="{2A842375-9542-4409-925B-6359B25EBC8D}" dt="2025-07-14T12:20:39.367" v="1767" actId="207"/>
          <ac:spMkLst>
            <pc:docMk/>
            <pc:sldMk cId="3128915611" sldId="2147475619"/>
            <ac:spMk id="10" creationId="{5E0FD2E5-D8DD-2E4B-A5AC-B2919A2AFC88}"/>
          </ac:spMkLst>
        </pc:spChg>
        <pc:spChg chg="add mod">
          <ac:chgData name="Aleksandra Szejko" userId="72bb44d8-1e0c-4109-be82-c57a4fb81907" providerId="ADAL" clId="{2A842375-9542-4409-925B-6359B25EBC8D}" dt="2025-07-14T12:15:18.259" v="1751" actId="12788"/>
          <ac:spMkLst>
            <pc:docMk/>
            <pc:sldMk cId="3128915611" sldId="2147475619"/>
            <ac:spMk id="14" creationId="{BC8FF733-0E84-781A-9B6E-38698B009DA9}"/>
          </ac:spMkLst>
        </pc:spChg>
        <pc:spChg chg="add mod">
          <ac:chgData name="Aleksandra Szejko" userId="72bb44d8-1e0c-4109-be82-c57a4fb81907" providerId="ADAL" clId="{2A842375-9542-4409-925B-6359B25EBC8D}" dt="2025-07-14T12:15:18.259" v="1751" actId="12788"/>
          <ac:spMkLst>
            <pc:docMk/>
            <pc:sldMk cId="3128915611" sldId="2147475619"/>
            <ac:spMk id="15" creationId="{A1D64354-DB12-F07B-E98E-5CACB3F0AF39}"/>
          </ac:spMkLst>
        </pc:spChg>
        <pc:spChg chg="mod ord">
          <ac:chgData name="Aleksandra Szejko" userId="72bb44d8-1e0c-4109-be82-c57a4fb81907" providerId="ADAL" clId="{2A842375-9542-4409-925B-6359B25EBC8D}" dt="2025-07-18T11:25:17.485" v="1998" actId="34135"/>
          <ac:spMkLst>
            <pc:docMk/>
            <pc:sldMk cId="3128915611" sldId="2147475619"/>
            <ac:spMk id="18" creationId="{1D2E77E5-8476-52EA-C6D8-1363EF1F511F}"/>
          </ac:spMkLst>
        </pc:spChg>
        <pc:spChg chg="mod ord">
          <ac:chgData name="Aleksandra Szejko" userId="72bb44d8-1e0c-4109-be82-c57a4fb81907" providerId="ADAL" clId="{2A842375-9542-4409-925B-6359B25EBC8D}" dt="2025-07-18T11:25:13.870" v="1996" actId="34135"/>
          <ac:spMkLst>
            <pc:docMk/>
            <pc:sldMk cId="3128915611" sldId="2147475619"/>
            <ac:spMk id="19" creationId="{2E9F9D1A-7726-D0E5-2857-065B4BC08756}"/>
          </ac:spMkLst>
        </pc:spChg>
        <pc:picChg chg="add mod ord">
          <ac:chgData name="Aleksandra Szejko" userId="72bb44d8-1e0c-4109-be82-c57a4fb81907" providerId="ADAL" clId="{2A842375-9542-4409-925B-6359B25EBC8D}" dt="2025-07-18T11:29:44.779" v="2049" actId="29295"/>
          <ac:picMkLst>
            <pc:docMk/>
            <pc:sldMk cId="3128915611" sldId="2147475619"/>
            <ac:picMk id="4" creationId="{FA189235-94E4-6C2B-D7D6-820FEBC0A8E9}"/>
          </ac:picMkLst>
        </pc:picChg>
        <pc:cxnChg chg="add mod">
          <ac:chgData name="Aleksandra Szejko" userId="72bb44d8-1e0c-4109-be82-c57a4fb81907" providerId="ADAL" clId="{2A842375-9542-4409-925B-6359B25EBC8D}" dt="2025-07-14T12:22:04.497" v="1785" actId="1582"/>
          <ac:cxnSpMkLst>
            <pc:docMk/>
            <pc:sldMk cId="3128915611" sldId="2147475619"/>
            <ac:cxnSpMk id="17" creationId="{F131472E-0243-D136-9387-C68908FD6E44}"/>
          </ac:cxnSpMkLst>
        </pc:cxnChg>
        <pc:cxnChg chg="add mod">
          <ac:chgData name="Aleksandra Szejko" userId="72bb44d8-1e0c-4109-be82-c57a4fb81907" providerId="ADAL" clId="{2A842375-9542-4409-925B-6359B25EBC8D}" dt="2025-07-14T12:21:36.497" v="1778" actId="1582"/>
          <ac:cxnSpMkLst>
            <pc:docMk/>
            <pc:sldMk cId="3128915611" sldId="2147475619"/>
            <ac:cxnSpMk id="22" creationId="{37F8F6DB-7AE5-DB5F-D23D-BD98C46CF0EA}"/>
          </ac:cxnSpMkLst>
        </pc:cxnChg>
        <pc:cxnChg chg="add mod">
          <ac:chgData name="Aleksandra Szejko" userId="72bb44d8-1e0c-4109-be82-c57a4fb81907" providerId="ADAL" clId="{2A842375-9542-4409-925B-6359B25EBC8D}" dt="2025-07-14T12:21:51.056" v="1783" actId="1582"/>
          <ac:cxnSpMkLst>
            <pc:docMk/>
            <pc:sldMk cId="3128915611" sldId="2147475619"/>
            <ac:cxnSpMk id="23" creationId="{6238A0A3-30D7-7506-0DEF-7B973FB65093}"/>
          </ac:cxnSpMkLst>
        </pc:cxnChg>
      </pc:sldChg>
      <pc:sldChg chg="new del">
        <pc:chgData name="Aleksandra Szejko" userId="72bb44d8-1e0c-4109-be82-c57a4fb81907" providerId="ADAL" clId="{2A842375-9542-4409-925B-6359B25EBC8D}" dt="2025-07-14T10:35:50.588" v="520" actId="47"/>
        <pc:sldMkLst>
          <pc:docMk/>
          <pc:sldMk cId="4073242578" sldId="2147475619"/>
        </pc:sldMkLst>
      </pc:sldChg>
      <pc:sldChg chg="delSp modSp add del mod setBg">
        <pc:chgData name="Aleksandra Szejko" userId="72bb44d8-1e0c-4109-be82-c57a4fb81907" providerId="ADAL" clId="{2A842375-9542-4409-925B-6359B25EBC8D}" dt="2025-07-14T11:56:56.818" v="1615" actId="47"/>
        <pc:sldMkLst>
          <pc:docMk/>
          <pc:sldMk cId="644054704" sldId="2147475620"/>
        </pc:sldMkLst>
      </pc:sldChg>
      <pc:sldChg chg="addSp delSp modSp add mod ord modAnim">
        <pc:chgData name="Aleksandra Szejko" userId="72bb44d8-1e0c-4109-be82-c57a4fb81907" providerId="ADAL" clId="{2A842375-9542-4409-925B-6359B25EBC8D}" dt="2025-07-18T14:18:08.748" v="4064"/>
        <pc:sldMkLst>
          <pc:docMk/>
          <pc:sldMk cId="2056446547" sldId="2147475620"/>
        </pc:sldMkLst>
        <pc:spChg chg="add mod">
          <ac:chgData name="Aleksandra Szejko" userId="72bb44d8-1e0c-4109-be82-c57a4fb81907" providerId="ADAL" clId="{2A842375-9542-4409-925B-6359B25EBC8D}" dt="2025-07-14T12:15:29.179" v="1753" actId="12788"/>
          <ac:spMkLst>
            <pc:docMk/>
            <pc:sldMk cId="2056446547" sldId="2147475620"/>
            <ac:spMk id="2" creationId="{18665E21-9646-52B0-F04C-AB80487E04B0}"/>
          </ac:spMkLst>
        </pc:spChg>
        <pc:spChg chg="mod">
          <ac:chgData name="Aleksandra Szejko" userId="72bb44d8-1e0c-4109-be82-c57a4fb81907" providerId="ADAL" clId="{2A842375-9542-4409-925B-6359B25EBC8D}" dt="2025-07-14T12:16:36.764" v="1759" actId="20577"/>
          <ac:spMkLst>
            <pc:docMk/>
            <pc:sldMk cId="2056446547" sldId="2147475620"/>
            <ac:spMk id="3" creationId="{51951976-18C0-FA28-FCF8-73677DFA28BB}"/>
          </ac:spMkLst>
        </pc:spChg>
        <pc:spChg chg="add mod">
          <ac:chgData name="Aleksandra Szejko" userId="72bb44d8-1e0c-4109-be82-c57a4fb81907" providerId="ADAL" clId="{2A842375-9542-4409-925B-6359B25EBC8D}" dt="2025-07-14T12:15:29.179" v="1753" actId="12788"/>
          <ac:spMkLst>
            <pc:docMk/>
            <pc:sldMk cId="2056446547" sldId="2147475620"/>
            <ac:spMk id="4" creationId="{58D9EEBF-F212-1D92-6C2A-53C6BA71EC6F}"/>
          </ac:spMkLst>
        </pc:spChg>
        <pc:spChg chg="mod">
          <ac:chgData name="Aleksandra Szejko" userId="72bb44d8-1e0c-4109-be82-c57a4fb81907" providerId="ADAL" clId="{2A842375-9542-4409-925B-6359B25EBC8D}" dt="2025-07-14T12:13:37.287" v="1736"/>
          <ac:spMkLst>
            <pc:docMk/>
            <pc:sldMk cId="2056446547" sldId="2147475620"/>
            <ac:spMk id="5" creationId="{FB678714-7ABF-DED0-3D91-C241E93C4A80}"/>
          </ac:spMkLst>
        </pc:spChg>
        <pc:spChg chg="mod">
          <ac:chgData name="Aleksandra Szejko" userId="72bb44d8-1e0c-4109-be82-c57a4fb81907" providerId="ADAL" clId="{2A842375-9542-4409-925B-6359B25EBC8D}" dt="2025-07-14T12:16:03.334" v="1755" actId="1076"/>
          <ac:spMkLst>
            <pc:docMk/>
            <pc:sldMk cId="2056446547" sldId="2147475620"/>
            <ac:spMk id="7" creationId="{B9D1278C-5679-A014-E9EB-30184E211721}"/>
          </ac:spMkLst>
        </pc:spChg>
        <pc:spChg chg="mod">
          <ac:chgData name="Aleksandra Szejko" userId="72bb44d8-1e0c-4109-be82-c57a4fb81907" providerId="ADAL" clId="{2A842375-9542-4409-925B-6359B25EBC8D}" dt="2025-07-18T10:34:59.806" v="1946" actId="207"/>
          <ac:spMkLst>
            <pc:docMk/>
            <pc:sldMk cId="2056446547" sldId="2147475620"/>
            <ac:spMk id="9" creationId="{0193D7B6-E5F6-9856-946E-477C3325ED5B}"/>
          </ac:spMkLst>
        </pc:spChg>
        <pc:spChg chg="mod">
          <ac:chgData name="Aleksandra Szejko" userId="72bb44d8-1e0c-4109-be82-c57a4fb81907" providerId="ADAL" clId="{2A842375-9542-4409-925B-6359B25EBC8D}" dt="2025-07-18T10:35:03.574" v="1947" actId="207"/>
          <ac:spMkLst>
            <pc:docMk/>
            <pc:sldMk cId="2056446547" sldId="2147475620"/>
            <ac:spMk id="10" creationId="{91848689-B75A-F32A-240F-464E75AFE179}"/>
          </ac:spMkLst>
        </pc:spChg>
        <pc:spChg chg="mod">
          <ac:chgData name="Aleksandra Szejko" userId="72bb44d8-1e0c-4109-be82-c57a4fb81907" providerId="ADAL" clId="{2A842375-9542-4409-925B-6359B25EBC8D}" dt="2025-07-14T13:36:03.606" v="1855" actId="34135"/>
          <ac:spMkLst>
            <pc:docMk/>
            <pc:sldMk cId="2056446547" sldId="2147475620"/>
            <ac:spMk id="18" creationId="{719D2919-900B-AAE7-E40F-2ABC2ED92B2C}"/>
          </ac:spMkLst>
        </pc:spChg>
        <pc:spChg chg="mod ord">
          <ac:chgData name="Aleksandra Szejko" userId="72bb44d8-1e0c-4109-be82-c57a4fb81907" providerId="ADAL" clId="{2A842375-9542-4409-925B-6359B25EBC8D}" dt="2025-07-18T14:12:28.859" v="4044" actId="167"/>
          <ac:spMkLst>
            <pc:docMk/>
            <pc:sldMk cId="2056446547" sldId="2147475620"/>
            <ac:spMk id="19" creationId="{7DAF09A6-64A7-E26F-5570-14C05A99604D}"/>
          </ac:spMkLst>
        </pc:spChg>
        <pc:picChg chg="add mod ord modCrop">
          <ac:chgData name="Aleksandra Szejko" userId="72bb44d8-1e0c-4109-be82-c57a4fb81907" providerId="ADAL" clId="{2A842375-9542-4409-925B-6359B25EBC8D}" dt="2025-07-18T14:17:45.013" v="4062" actId="1076"/>
          <ac:picMkLst>
            <pc:docMk/>
            <pc:sldMk cId="2056446547" sldId="2147475620"/>
            <ac:picMk id="14" creationId="{733B7A96-E718-7415-5F62-1540267FA1D6}"/>
          </ac:picMkLst>
        </pc:picChg>
        <pc:cxnChg chg="add mod">
          <ac:chgData name="Aleksandra Szejko" userId="72bb44d8-1e0c-4109-be82-c57a4fb81907" providerId="ADAL" clId="{2A842375-9542-4409-925B-6359B25EBC8D}" dt="2025-07-18T10:34:53.928" v="1945"/>
          <ac:cxnSpMkLst>
            <pc:docMk/>
            <pc:sldMk cId="2056446547" sldId="2147475620"/>
            <ac:cxnSpMk id="6" creationId="{FD8096CF-F856-7F1F-EAD7-C62893553AB8}"/>
          </ac:cxnSpMkLst>
        </pc:cxnChg>
        <pc:cxnChg chg="add mod">
          <ac:chgData name="Aleksandra Szejko" userId="72bb44d8-1e0c-4109-be82-c57a4fb81907" providerId="ADAL" clId="{2A842375-9542-4409-925B-6359B25EBC8D}" dt="2025-07-18T10:34:53.928" v="1945"/>
          <ac:cxnSpMkLst>
            <pc:docMk/>
            <pc:sldMk cId="2056446547" sldId="2147475620"/>
            <ac:cxnSpMk id="11" creationId="{F294D1D1-5DE7-E0C1-144D-CFC35E91A22C}"/>
          </ac:cxnSpMkLst>
        </pc:cxnChg>
        <pc:cxnChg chg="add mod">
          <ac:chgData name="Aleksandra Szejko" userId="72bb44d8-1e0c-4109-be82-c57a4fb81907" providerId="ADAL" clId="{2A842375-9542-4409-925B-6359B25EBC8D}" dt="2025-07-18T10:34:53.928" v="1945"/>
          <ac:cxnSpMkLst>
            <pc:docMk/>
            <pc:sldMk cId="2056446547" sldId="2147475620"/>
            <ac:cxnSpMk id="12" creationId="{9C7FA6B2-2474-714F-D2D7-A48A619743EA}"/>
          </ac:cxnSpMkLst>
        </pc:cxnChg>
      </pc:sldChg>
      <pc:sldChg chg="addSp delSp modSp add del mod">
        <pc:chgData name="Aleksandra Szejko" userId="72bb44d8-1e0c-4109-be82-c57a4fb81907" providerId="ADAL" clId="{2A842375-9542-4409-925B-6359B25EBC8D}" dt="2025-07-14T11:56:56.818" v="1615" actId="47"/>
        <pc:sldMkLst>
          <pc:docMk/>
          <pc:sldMk cId="633447724" sldId="2147475621"/>
        </pc:sldMkLst>
      </pc:sldChg>
      <pc:sldChg chg="addSp delSp modSp new del mod modClrScheme chgLayout">
        <pc:chgData name="Aleksandra Szejko" userId="72bb44d8-1e0c-4109-be82-c57a4fb81907" providerId="ADAL" clId="{2A842375-9542-4409-925B-6359B25EBC8D}" dt="2025-07-14T13:43:06.480" v="1861" actId="47"/>
        <pc:sldMkLst>
          <pc:docMk/>
          <pc:sldMk cId="3922114361" sldId="2147475621"/>
        </pc:sldMkLst>
      </pc:sldChg>
      <pc:sldChg chg="addSp delSp modSp add mod">
        <pc:chgData name="Aleksandra Szejko" userId="72bb44d8-1e0c-4109-be82-c57a4fb81907" providerId="ADAL" clId="{2A842375-9542-4409-925B-6359B25EBC8D}" dt="2025-07-18T12:54:32.235" v="2294" actId="14100"/>
        <pc:sldMkLst>
          <pc:docMk/>
          <pc:sldMk cId="3953211832" sldId="2147475621"/>
        </pc:sldMkLst>
        <pc:spChg chg="mod">
          <ac:chgData name="Aleksandra Szejko" userId="72bb44d8-1e0c-4109-be82-c57a4fb81907" providerId="ADAL" clId="{2A842375-9542-4409-925B-6359B25EBC8D}" dt="2025-07-18T12:43:41.508" v="2165" actId="207"/>
          <ac:spMkLst>
            <pc:docMk/>
            <pc:sldMk cId="3953211832" sldId="2147475621"/>
            <ac:spMk id="3" creationId="{6014D52C-2191-5151-58D1-985DF5E6ECEE}"/>
          </ac:spMkLst>
        </pc:spChg>
        <pc:spChg chg="add mod">
          <ac:chgData name="Aleksandra Szejko" userId="72bb44d8-1e0c-4109-be82-c57a4fb81907" providerId="ADAL" clId="{2A842375-9542-4409-925B-6359B25EBC8D}" dt="2025-07-18T12:54:24.840" v="2292" actId="1076"/>
          <ac:spMkLst>
            <pc:docMk/>
            <pc:sldMk cId="3953211832" sldId="2147475621"/>
            <ac:spMk id="5" creationId="{91D69F1A-E751-824E-84AE-30BC69AB2C14}"/>
          </ac:spMkLst>
        </pc:spChg>
        <pc:spChg chg="add mod">
          <ac:chgData name="Aleksandra Szejko" userId="72bb44d8-1e0c-4109-be82-c57a4fb81907" providerId="ADAL" clId="{2A842375-9542-4409-925B-6359B25EBC8D}" dt="2025-07-18T12:54:32.235" v="2294" actId="14100"/>
          <ac:spMkLst>
            <pc:docMk/>
            <pc:sldMk cId="3953211832" sldId="2147475621"/>
            <ac:spMk id="6" creationId="{C1573C8E-133D-030B-1467-D548E824949B}"/>
          </ac:spMkLst>
        </pc:spChg>
        <pc:spChg chg="mod">
          <ac:chgData name="Aleksandra Szejko" userId="72bb44d8-1e0c-4109-be82-c57a4fb81907" providerId="ADAL" clId="{2A842375-9542-4409-925B-6359B25EBC8D}" dt="2025-07-18T12:45:25.016" v="2184" actId="207"/>
          <ac:spMkLst>
            <pc:docMk/>
            <pc:sldMk cId="3953211832" sldId="2147475621"/>
            <ac:spMk id="8" creationId="{4AA2A89A-7861-32B8-5442-D8BDB27955C0}"/>
          </ac:spMkLst>
        </pc:spChg>
        <pc:spChg chg="add mod">
          <ac:chgData name="Aleksandra Szejko" userId="72bb44d8-1e0c-4109-be82-c57a4fb81907" providerId="ADAL" clId="{2A842375-9542-4409-925B-6359B25EBC8D}" dt="2025-07-18T12:54:20.377" v="2291" actId="1076"/>
          <ac:spMkLst>
            <pc:docMk/>
            <pc:sldMk cId="3953211832" sldId="2147475621"/>
            <ac:spMk id="10" creationId="{AFC5ED85-4FBD-3692-BF20-C1F3C6F2FFA5}"/>
          </ac:spMkLst>
        </pc:spChg>
        <pc:spChg chg="add mod">
          <ac:chgData name="Aleksandra Szejko" userId="72bb44d8-1e0c-4109-be82-c57a4fb81907" providerId="ADAL" clId="{2A842375-9542-4409-925B-6359B25EBC8D}" dt="2025-07-18T12:52:59.316" v="2276" actId="1076"/>
          <ac:spMkLst>
            <pc:docMk/>
            <pc:sldMk cId="3953211832" sldId="2147475621"/>
            <ac:spMk id="11" creationId="{26015DA4-FCD1-2463-FA54-0E4F7FA6DCB3}"/>
          </ac:spMkLst>
        </pc:spChg>
        <pc:spChg chg="add mod">
          <ac:chgData name="Aleksandra Szejko" userId="72bb44d8-1e0c-4109-be82-c57a4fb81907" providerId="ADAL" clId="{2A842375-9542-4409-925B-6359B25EBC8D}" dt="2025-07-18T12:52:59.316" v="2276" actId="1076"/>
          <ac:spMkLst>
            <pc:docMk/>
            <pc:sldMk cId="3953211832" sldId="2147475621"/>
            <ac:spMk id="14" creationId="{4CA8D5C4-62A8-346F-2B5E-44CFA7537768}"/>
          </ac:spMkLst>
        </pc:spChg>
        <pc:spChg chg="add mod">
          <ac:chgData name="Aleksandra Szejko" userId="72bb44d8-1e0c-4109-be82-c57a4fb81907" providerId="ADAL" clId="{2A842375-9542-4409-925B-6359B25EBC8D}" dt="2025-07-18T12:52:59.316" v="2276" actId="1076"/>
          <ac:spMkLst>
            <pc:docMk/>
            <pc:sldMk cId="3953211832" sldId="2147475621"/>
            <ac:spMk id="15" creationId="{C9E67ECF-3E71-8093-C6D3-FB92192AB910}"/>
          </ac:spMkLst>
        </pc:spChg>
        <pc:spChg chg="add mod">
          <ac:chgData name="Aleksandra Szejko" userId="72bb44d8-1e0c-4109-be82-c57a4fb81907" providerId="ADAL" clId="{2A842375-9542-4409-925B-6359B25EBC8D}" dt="2025-07-18T12:52:59.316" v="2276" actId="1076"/>
          <ac:spMkLst>
            <pc:docMk/>
            <pc:sldMk cId="3953211832" sldId="2147475621"/>
            <ac:spMk id="16" creationId="{33879B8E-46A8-DCA8-14E0-B9192A0A4B5B}"/>
          </ac:spMkLst>
        </pc:spChg>
        <pc:spChg chg="add mod">
          <ac:chgData name="Aleksandra Szejko" userId="72bb44d8-1e0c-4109-be82-c57a4fb81907" providerId="ADAL" clId="{2A842375-9542-4409-925B-6359B25EBC8D}" dt="2025-07-18T12:52:59.316" v="2276" actId="1076"/>
          <ac:spMkLst>
            <pc:docMk/>
            <pc:sldMk cId="3953211832" sldId="2147475621"/>
            <ac:spMk id="17" creationId="{EBDFE0FD-6916-2DDF-CA9A-63463A712B7F}"/>
          </ac:spMkLst>
        </pc:spChg>
        <pc:spChg chg="add mod">
          <ac:chgData name="Aleksandra Szejko" userId="72bb44d8-1e0c-4109-be82-c57a4fb81907" providerId="ADAL" clId="{2A842375-9542-4409-925B-6359B25EBC8D}" dt="2025-07-18T12:52:59.316" v="2276" actId="1076"/>
          <ac:spMkLst>
            <pc:docMk/>
            <pc:sldMk cId="3953211832" sldId="2147475621"/>
            <ac:spMk id="18" creationId="{8E2DB6DA-9AFA-3E76-15B2-7674942F8030}"/>
          </ac:spMkLst>
        </pc:spChg>
        <pc:spChg chg="add mod">
          <ac:chgData name="Aleksandra Szejko" userId="72bb44d8-1e0c-4109-be82-c57a4fb81907" providerId="ADAL" clId="{2A842375-9542-4409-925B-6359B25EBC8D}" dt="2025-07-18T12:52:59.316" v="2276" actId="1076"/>
          <ac:spMkLst>
            <pc:docMk/>
            <pc:sldMk cId="3953211832" sldId="2147475621"/>
            <ac:spMk id="19" creationId="{31F62209-FBF3-908C-A7BA-9AD76F3BFE0A}"/>
          </ac:spMkLst>
        </pc:spChg>
        <pc:spChg chg="add mod">
          <ac:chgData name="Aleksandra Szejko" userId="72bb44d8-1e0c-4109-be82-c57a4fb81907" providerId="ADAL" clId="{2A842375-9542-4409-925B-6359B25EBC8D}" dt="2025-07-18T12:52:59.316" v="2276" actId="1076"/>
          <ac:spMkLst>
            <pc:docMk/>
            <pc:sldMk cId="3953211832" sldId="2147475621"/>
            <ac:spMk id="20" creationId="{4FE4EA49-23B4-561B-C8D8-70266BE9F2CF}"/>
          </ac:spMkLst>
        </pc:spChg>
        <pc:picChg chg="mod">
          <ac:chgData name="Aleksandra Szejko" userId="72bb44d8-1e0c-4109-be82-c57a4fb81907" providerId="ADAL" clId="{2A842375-9542-4409-925B-6359B25EBC8D}" dt="2025-07-18T12:54:16.312" v="2290" actId="34135"/>
          <ac:picMkLst>
            <pc:docMk/>
            <pc:sldMk cId="3953211832" sldId="2147475621"/>
            <ac:picMk id="12" creationId="{37B953F9-7DEF-1B24-0CCC-CF6E9A38554A}"/>
          </ac:picMkLst>
        </pc:picChg>
        <pc:picChg chg="add mod">
          <ac:chgData name="Aleksandra Szejko" userId="72bb44d8-1e0c-4109-be82-c57a4fb81907" providerId="ADAL" clId="{2A842375-9542-4409-925B-6359B25EBC8D}" dt="2025-07-18T12:52:59.316" v="2276" actId="1076"/>
          <ac:picMkLst>
            <pc:docMk/>
            <pc:sldMk cId="3953211832" sldId="2147475621"/>
            <ac:picMk id="13" creationId="{AA90E663-189C-00D3-C611-A3E64269C613}"/>
          </ac:picMkLst>
        </pc:picChg>
      </pc:sldChg>
      <pc:sldChg chg="addSp delSp modSp add del mod modClrScheme chgLayout">
        <pc:chgData name="Aleksandra Szejko" userId="72bb44d8-1e0c-4109-be82-c57a4fb81907" providerId="ADAL" clId="{2A842375-9542-4409-925B-6359B25EBC8D}" dt="2025-07-18T13:51:57.706" v="3744" actId="47"/>
        <pc:sldMkLst>
          <pc:docMk/>
          <pc:sldMk cId="3587026536" sldId="2147475622"/>
        </pc:sldMkLst>
      </pc:sldChg>
      <pc:sldChg chg="addSp delSp modSp add del mod modClrScheme chgLayout">
        <pc:chgData name="Aleksandra Szejko" userId="72bb44d8-1e0c-4109-be82-c57a4fb81907" providerId="ADAL" clId="{2A842375-9542-4409-925B-6359B25EBC8D}" dt="2025-07-18T14:04:43.640" v="4025" actId="47"/>
        <pc:sldMkLst>
          <pc:docMk/>
          <pc:sldMk cId="3274389540" sldId="2147475623"/>
        </pc:sldMkLst>
      </pc:sldChg>
      <pc:sldChg chg="addSp delSp modSp add mod modTransition">
        <pc:chgData name="Aleksandra Szejko" userId="72bb44d8-1e0c-4109-be82-c57a4fb81907" providerId="ADAL" clId="{2A842375-9542-4409-925B-6359B25EBC8D}" dt="2025-07-18T14:16:49.808" v="4061"/>
        <pc:sldMkLst>
          <pc:docMk/>
          <pc:sldMk cId="960563488" sldId="2147475624"/>
        </pc:sldMkLst>
        <pc:spChg chg="add mod">
          <ac:chgData name="Aleksandra Szejko" userId="72bb44d8-1e0c-4109-be82-c57a4fb81907" providerId="ADAL" clId="{2A842375-9542-4409-925B-6359B25EBC8D}" dt="2025-07-18T14:04:30.818" v="4024" actId="34135"/>
          <ac:spMkLst>
            <pc:docMk/>
            <pc:sldMk cId="960563488" sldId="2147475624"/>
            <ac:spMk id="2" creationId="{6196D636-F575-D0E9-B3B2-BA104033C4EA}"/>
          </ac:spMkLst>
        </pc:spChg>
        <pc:spChg chg="mod">
          <ac:chgData name="Aleksandra Szejko" userId="72bb44d8-1e0c-4109-be82-c57a4fb81907" providerId="ADAL" clId="{2A842375-9542-4409-925B-6359B25EBC8D}" dt="2025-07-18T14:05:32.026" v="4033" actId="166"/>
          <ac:spMkLst>
            <pc:docMk/>
            <pc:sldMk cId="960563488" sldId="2147475624"/>
            <ac:spMk id="3" creationId="{748B8BAB-D87E-3886-0DE1-0738B7A40480}"/>
          </ac:spMkLst>
        </pc:spChg>
        <pc:spChg chg="mod">
          <ac:chgData name="Aleksandra Szejko" userId="72bb44d8-1e0c-4109-be82-c57a4fb81907" providerId="ADAL" clId="{2A842375-9542-4409-925B-6359B25EBC8D}" dt="2025-07-18T14:01:30.101" v="3900" actId="5793"/>
          <ac:spMkLst>
            <pc:docMk/>
            <pc:sldMk cId="960563488" sldId="2147475624"/>
            <ac:spMk id="4" creationId="{79777508-8A2B-1290-E56D-CB1D4BA04CF0}"/>
          </ac:spMkLst>
        </pc:spChg>
        <pc:spChg chg="mod">
          <ac:chgData name="Aleksandra Szejko" userId="72bb44d8-1e0c-4109-be82-c57a4fb81907" providerId="ADAL" clId="{2A842375-9542-4409-925B-6359B25EBC8D}" dt="2025-07-18T14:03:36.564" v="4022" actId="692"/>
          <ac:spMkLst>
            <pc:docMk/>
            <pc:sldMk cId="960563488" sldId="2147475624"/>
            <ac:spMk id="10" creationId="{62F7A03D-B35F-6654-4A5B-57124FE70CAD}"/>
          </ac:spMkLst>
        </pc:spChg>
        <pc:spChg chg="mod">
          <ac:chgData name="Aleksandra Szejko" userId="72bb44d8-1e0c-4109-be82-c57a4fb81907" providerId="ADAL" clId="{2A842375-9542-4409-925B-6359B25EBC8D}" dt="2025-07-18T14:05:25.447" v="4032" actId="166"/>
          <ac:spMkLst>
            <pc:docMk/>
            <pc:sldMk cId="960563488" sldId="2147475624"/>
            <ac:spMk id="12" creationId="{8C8BDB6F-0035-CE48-691F-7C718FFEBED4}"/>
          </ac:spMkLst>
        </pc:spChg>
        <pc:spChg chg="mod">
          <ac:chgData name="Aleksandra Szejko" userId="72bb44d8-1e0c-4109-be82-c57a4fb81907" providerId="ADAL" clId="{2A842375-9542-4409-925B-6359B25EBC8D}" dt="2025-07-18T14:03:36.564" v="4022" actId="692"/>
          <ac:spMkLst>
            <pc:docMk/>
            <pc:sldMk cId="960563488" sldId="2147475624"/>
            <ac:spMk id="13" creationId="{811BC6D3-BB5E-B312-8B3B-4574038FA294}"/>
          </ac:spMkLst>
        </pc:spChg>
        <pc:spChg chg="mod">
          <ac:chgData name="Aleksandra Szejko" userId="72bb44d8-1e0c-4109-be82-c57a4fb81907" providerId="ADAL" clId="{2A842375-9542-4409-925B-6359B25EBC8D}" dt="2025-07-18T14:01:26.564" v="3896" actId="5793"/>
          <ac:spMkLst>
            <pc:docMk/>
            <pc:sldMk cId="960563488" sldId="2147475624"/>
            <ac:spMk id="16" creationId="{46EE1943-9CBD-553E-7823-E85BE45F161A}"/>
          </ac:spMkLst>
        </pc:spChg>
        <pc:spChg chg="mod">
          <ac:chgData name="Aleksandra Szejko" userId="72bb44d8-1e0c-4109-be82-c57a4fb81907" providerId="ADAL" clId="{2A842375-9542-4409-925B-6359B25EBC8D}" dt="2025-07-18T14:03:36.564" v="4022" actId="692"/>
          <ac:spMkLst>
            <pc:docMk/>
            <pc:sldMk cId="960563488" sldId="2147475624"/>
            <ac:spMk id="17" creationId="{5931EFD6-6AC0-E0AC-8915-CF83EA26F0A9}"/>
          </ac:spMkLst>
        </pc:spChg>
        <pc:spChg chg="mod">
          <ac:chgData name="Aleksandra Szejko" userId="72bb44d8-1e0c-4109-be82-c57a4fb81907" providerId="ADAL" clId="{2A842375-9542-4409-925B-6359B25EBC8D}" dt="2025-07-18T14:03:14.918" v="3991" actId="692"/>
          <ac:spMkLst>
            <pc:docMk/>
            <pc:sldMk cId="960563488" sldId="2147475624"/>
            <ac:spMk id="18" creationId="{EB7A9F3F-6ABB-2568-5E22-A1CEA184858C}"/>
          </ac:spMkLst>
        </pc:spChg>
        <pc:spChg chg="mod">
          <ac:chgData name="Aleksandra Szejko" userId="72bb44d8-1e0c-4109-be82-c57a4fb81907" providerId="ADAL" clId="{2A842375-9542-4409-925B-6359B25EBC8D}" dt="2025-07-18T14:03:14.918" v="3991" actId="692"/>
          <ac:spMkLst>
            <pc:docMk/>
            <pc:sldMk cId="960563488" sldId="2147475624"/>
            <ac:spMk id="19" creationId="{993139BB-99C6-2815-AFCB-19D04DD7E35F}"/>
          </ac:spMkLst>
        </pc:spChg>
        <pc:spChg chg="mod">
          <ac:chgData name="Aleksandra Szejko" userId="72bb44d8-1e0c-4109-be82-c57a4fb81907" providerId="ADAL" clId="{2A842375-9542-4409-925B-6359B25EBC8D}" dt="2025-07-18T14:03:14.918" v="3991" actId="692"/>
          <ac:spMkLst>
            <pc:docMk/>
            <pc:sldMk cId="960563488" sldId="2147475624"/>
            <ac:spMk id="20" creationId="{E930CB60-477C-66E0-BC79-662E04E0CFE3}"/>
          </ac:spMkLst>
        </pc:spChg>
        <pc:spChg chg="mod">
          <ac:chgData name="Aleksandra Szejko" userId="72bb44d8-1e0c-4109-be82-c57a4fb81907" providerId="ADAL" clId="{2A842375-9542-4409-925B-6359B25EBC8D}" dt="2025-07-18T14:03:36.564" v="4022" actId="692"/>
          <ac:spMkLst>
            <pc:docMk/>
            <pc:sldMk cId="960563488" sldId="2147475624"/>
            <ac:spMk id="21" creationId="{F6D5D210-55E0-FC7E-DE36-B716ACB54B12}"/>
          </ac:spMkLst>
        </pc:spChg>
        <pc:spChg chg="mod">
          <ac:chgData name="Aleksandra Szejko" userId="72bb44d8-1e0c-4109-be82-c57a4fb81907" providerId="ADAL" clId="{2A842375-9542-4409-925B-6359B25EBC8D}" dt="2025-07-18T14:03:36.564" v="4022" actId="692"/>
          <ac:spMkLst>
            <pc:docMk/>
            <pc:sldMk cId="960563488" sldId="2147475624"/>
            <ac:spMk id="22" creationId="{882CD9C9-F4E7-FD09-F9AC-62B6F1B0CB1F}"/>
          </ac:spMkLst>
        </pc:spChg>
        <pc:spChg chg="mod">
          <ac:chgData name="Aleksandra Szejko" userId="72bb44d8-1e0c-4109-be82-c57a4fb81907" providerId="ADAL" clId="{2A842375-9542-4409-925B-6359B25EBC8D}" dt="2025-07-18T14:01:00.603" v="3889" actId="207"/>
          <ac:spMkLst>
            <pc:docMk/>
            <pc:sldMk cId="960563488" sldId="2147475624"/>
            <ac:spMk id="24" creationId="{8015A2A6-B64E-1226-725F-1427D8B8CF21}"/>
          </ac:spMkLst>
        </pc:spChg>
        <pc:spChg chg="add del mod">
          <ac:chgData name="Aleksandra Szejko" userId="72bb44d8-1e0c-4109-be82-c57a4fb81907" providerId="ADAL" clId="{2A842375-9542-4409-925B-6359B25EBC8D}" dt="2025-07-18T14:05:25.447" v="4032" actId="166"/>
          <ac:spMkLst>
            <pc:docMk/>
            <pc:sldMk cId="960563488" sldId="2147475624"/>
            <ac:spMk id="26" creationId="{88A9BACC-15B9-7663-718A-E87106F8A56D}"/>
          </ac:spMkLst>
        </pc:spChg>
        <pc:grpChg chg="mod">
          <ac:chgData name="Aleksandra Szejko" userId="72bb44d8-1e0c-4109-be82-c57a4fb81907" providerId="ADAL" clId="{2A842375-9542-4409-925B-6359B25EBC8D}" dt="2025-07-18T14:02:07.068" v="3955" actId="1037"/>
          <ac:grpSpMkLst>
            <pc:docMk/>
            <pc:sldMk cId="960563488" sldId="2147475624"/>
            <ac:grpSpMk id="11" creationId="{44F3462C-1AC5-54F0-C49A-EE3C8D769C3F}"/>
          </ac:grpSpMkLst>
        </pc:grpChg>
        <pc:cxnChg chg="mod">
          <ac:chgData name="Aleksandra Szejko" userId="72bb44d8-1e0c-4109-be82-c57a4fb81907" providerId="ADAL" clId="{2A842375-9542-4409-925B-6359B25EBC8D}" dt="2025-07-18T14:02:07.068" v="3955" actId="1037"/>
          <ac:cxnSpMkLst>
            <pc:docMk/>
            <pc:sldMk cId="960563488" sldId="2147475624"/>
            <ac:cxnSpMk id="7" creationId="{708A7168-821D-E081-69F8-CF3041A27B69}"/>
          </ac:cxnSpMkLst>
        </pc:cxnChg>
        <pc:cxnChg chg="mod">
          <ac:chgData name="Aleksandra Szejko" userId="72bb44d8-1e0c-4109-be82-c57a4fb81907" providerId="ADAL" clId="{2A842375-9542-4409-925B-6359B25EBC8D}" dt="2025-07-18T14:02:07.068" v="3955" actId="1037"/>
          <ac:cxnSpMkLst>
            <pc:docMk/>
            <pc:sldMk cId="960563488" sldId="2147475624"/>
            <ac:cxnSpMk id="9" creationId="{6A6502EE-136B-09DC-ED32-7F07C48BC3C3}"/>
          </ac:cxnSpMkLst>
        </pc:cxnChg>
      </pc:sldChg>
      <pc:sldChg chg="addSp delSp modSp add del mod">
        <pc:chgData name="Aleksandra Szejko" userId="72bb44d8-1e0c-4109-be82-c57a4fb81907" providerId="ADAL" clId="{2A842375-9542-4409-925B-6359B25EBC8D}" dt="2025-07-18T13:56:23.980" v="3782" actId="47"/>
        <pc:sldMkLst>
          <pc:docMk/>
          <pc:sldMk cId="3290152096" sldId="2147475624"/>
        </pc:sldMkLst>
      </pc:sldChg>
    </pc:docChg>
  </pc:docChgLst>
</pc:chgInfo>
</file>

<file path=ppt/comments/modernComment_7FFFE058_3713A59F.xml><?xml version="1.0" encoding="utf-8"?>
<p188:cmLst xmlns:a="http://schemas.openxmlformats.org/drawingml/2006/main" xmlns:r="http://schemas.openxmlformats.org/officeDocument/2006/relationships" xmlns:p188="http://schemas.microsoft.com/office/powerpoint/2018/8/main">
  <p188:cm id="{5BAEA510-E03E-4833-BABA-00F98EBC800F}" authorId="{0CE25C0D-383D-4069-BB9F-436C5AB1BB87}" created="2025-06-10T11:28:45.802">
    <pc:sldMkLst xmlns:pc="http://schemas.microsoft.com/office/powerpoint/2013/main/command">
      <pc:docMk/>
      <pc:sldMk cId="924034463" sldId="2147475544"/>
    </pc:sldMkLst>
    <p188:txBody>
      <a:bodyPr/>
      <a:lstStyle/>
      <a:p>
        <a:r>
          <a:rPr lang="da-DK"/>
          <a:t>Needs to be without “Consulting”</a:t>
        </a:r>
      </a:p>
    </p188:txBody>
  </p188:cm>
</p188:cmLst>
</file>

<file path=ppt/comments/modernComment_7FFFE097_62D76DBF.xml><?xml version="1.0" encoding="utf-8"?>
<p188:cmLst xmlns:a="http://schemas.openxmlformats.org/drawingml/2006/main" xmlns:r="http://schemas.openxmlformats.org/officeDocument/2006/relationships" xmlns:p188="http://schemas.microsoft.com/office/powerpoint/2018/8/main">
  <p188:cm id="{0008EB33-8186-4E8C-9BFC-A597DBDF5FCA}" authorId="{0CE25C0D-383D-4069-BB9F-436C5AB1BB87}" created="2025-06-10T11:26:12.868">
    <ac:deMkLst xmlns:ac="http://schemas.microsoft.com/office/drawing/2013/main/command">
      <pc:docMk xmlns:pc="http://schemas.microsoft.com/office/powerpoint/2013/main/command"/>
      <pc:sldMk xmlns:pc="http://schemas.microsoft.com/office/powerpoint/2013/main/command" cId="1658285503" sldId="2147475607"/>
      <ac:picMk id="1070" creationId="{489051A0-20EB-41F6-E0D8-E9F26A1328B7}"/>
    </ac:deMkLst>
    <p188:txBody>
      <a:bodyPr/>
      <a:lstStyle/>
      <a:p>
        <a:r>
          <a:rPr lang="da-DK"/>
          <a:t>Remove the background from this logo</a:t>
        </a:r>
      </a:p>
    </p188:txBody>
  </p188:cm>
  <p188:cm id="{31054C0A-E796-4AF1-ACD7-A1A81F1698AD}" authorId="{0CE25C0D-383D-4069-BB9F-436C5AB1BB87}" created="2025-06-13T12:32:37.964">
    <pc:sldMkLst xmlns:pc="http://schemas.microsoft.com/office/powerpoint/2013/main/command">
      <pc:docMk/>
      <pc:sldMk cId="1658285503" sldId="2147475607"/>
    </pc:sldMkLst>
    <p188:txBody>
      <a:bodyPr/>
      <a:lstStyle/>
      <a:p>
        <a:r>
          <a:rPr lang="da-DK"/>
          <a:t>Could we, separate from the other logos, add a Kneat logo stating something down the lines of “Certified Kneat Partner” or something to that effec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5B3291-F690-4D3B-8A09-1BF787D37A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a-DK"/>
        </a:p>
      </dgm:t>
    </dgm:pt>
    <dgm:pt modelId="{8EB8573B-7E9F-4F43-920D-9D8C1568A5A4}">
      <dgm:prSet phldrT="[Text]" custT="1"/>
      <dgm:spPr>
        <a:noFill/>
        <a:ln w="12700">
          <a:gradFill>
            <a:gsLst>
              <a:gs pos="0">
                <a:schemeClr val="accent1">
                  <a:alpha val="55000"/>
                </a:schemeClr>
              </a:gs>
              <a:gs pos="45000">
                <a:schemeClr val="accent1"/>
              </a:gs>
              <a:gs pos="100000">
                <a:schemeClr val="tx2"/>
              </a:gs>
            </a:gsLst>
            <a:lin ang="5400000" scaled="1"/>
          </a:gradFill>
        </a:ln>
      </dgm:spPr>
      <dgm:t>
        <a:bodyPr anchor="t"/>
        <a:lstStyle/>
        <a:p>
          <a:endParaRPr lang="en-GB" sz="2000" b="1">
            <a:solidFill>
              <a:schemeClr val="tx2"/>
            </a:solidFill>
          </a:endParaRPr>
        </a:p>
        <a:p>
          <a:r>
            <a:rPr lang="en-GB" sz="2000" b="1">
              <a:solidFill>
                <a:schemeClr val="accent1"/>
              </a:solidFill>
            </a:rPr>
            <a:t>Reduced </a:t>
          </a:r>
          <a:br>
            <a:rPr lang="en-GB" sz="2000" b="1">
              <a:solidFill>
                <a:schemeClr val="accent1"/>
              </a:solidFill>
            </a:rPr>
          </a:br>
          <a:r>
            <a:rPr lang="en-GB" sz="2000" b="1">
              <a:solidFill>
                <a:schemeClr val="tx2"/>
              </a:solidFill>
            </a:rPr>
            <a:t>Vendor Complexity</a:t>
          </a:r>
        </a:p>
        <a:p>
          <a:endParaRPr lang="en-GB" sz="2000">
            <a:solidFill>
              <a:schemeClr val="tx2"/>
            </a:solidFill>
          </a:endParaRPr>
        </a:p>
        <a:p>
          <a:r>
            <a:rPr lang="en-US" sz="1600">
              <a:solidFill>
                <a:schemeClr val="tx2"/>
              </a:solidFill>
              <a:ea typeface="Aptos" panose="020B0004020202020204" pitchFamily="34" charset="0"/>
              <a:cs typeface="Times New Roman" panose="02020603050405020304" pitchFamily="18" charset="0"/>
            </a:rPr>
            <a:t>Less time and money spent on coordination and training. </a:t>
          </a:r>
        </a:p>
        <a:p>
          <a:endParaRPr lang="en-US" sz="1600">
            <a:solidFill>
              <a:schemeClr val="tx2"/>
            </a:solidFill>
            <a:ea typeface="Aptos" panose="020B0004020202020204" pitchFamily="34" charset="0"/>
            <a:cs typeface="Times New Roman" panose="02020603050405020304" pitchFamily="18" charset="0"/>
          </a:endParaRPr>
        </a:p>
        <a:p>
          <a:r>
            <a:rPr lang="en-US" sz="1600">
              <a:solidFill>
                <a:schemeClr val="tx2"/>
              </a:solidFill>
              <a:ea typeface="Aptos" panose="020B0004020202020204" pitchFamily="34" charset="0"/>
              <a:cs typeface="Times New Roman" panose="02020603050405020304" pitchFamily="18" charset="0"/>
            </a:rPr>
            <a:t>More consistency. </a:t>
          </a:r>
          <a:endParaRPr lang="en-GB" sz="1600">
            <a:solidFill>
              <a:schemeClr val="tx2"/>
            </a:solidFill>
          </a:endParaRPr>
        </a:p>
      </dgm:t>
    </dgm:pt>
    <dgm:pt modelId="{78460058-A15C-48ED-A8C1-61661C00FFE9}" type="parTrans" cxnId="{6B2BE4E6-2C4B-433B-B66B-BFEEEA4D4436}">
      <dgm:prSet/>
      <dgm:spPr/>
      <dgm:t>
        <a:bodyPr/>
        <a:lstStyle/>
        <a:p>
          <a:endParaRPr lang="da-DK"/>
        </a:p>
      </dgm:t>
    </dgm:pt>
    <dgm:pt modelId="{A80D2F89-6638-4F6D-8784-F10ED356C8BC}" type="sibTrans" cxnId="{6B2BE4E6-2C4B-433B-B66B-BFEEEA4D4436}">
      <dgm:prSet/>
      <dgm:spPr/>
      <dgm:t>
        <a:bodyPr/>
        <a:lstStyle/>
        <a:p>
          <a:endParaRPr lang="da-DK"/>
        </a:p>
      </dgm:t>
    </dgm:pt>
    <dgm:pt modelId="{A2532692-2EB8-4FFF-B1AC-03B13CF59474}">
      <dgm:prSet phldrT="[Text]" custT="1"/>
      <dgm:spPr>
        <a:noFill/>
        <a:ln w="12700">
          <a:gradFill>
            <a:gsLst>
              <a:gs pos="0">
                <a:schemeClr val="accent1"/>
              </a:gs>
              <a:gs pos="100000">
                <a:schemeClr val="tx2"/>
              </a:gs>
            </a:gsLst>
            <a:lin ang="5400000" scaled="1"/>
          </a:gradFill>
        </a:ln>
      </dgm:spPr>
      <dgm:t>
        <a:bodyPr anchor="t"/>
        <a:lstStyle/>
        <a:p>
          <a:endParaRPr lang="en-GB" sz="2000" b="1">
            <a:solidFill>
              <a:schemeClr val="tx2"/>
            </a:solidFill>
          </a:endParaRPr>
        </a:p>
        <a:p>
          <a:r>
            <a:rPr lang="en-GB" sz="2000" b="1">
              <a:solidFill>
                <a:schemeClr val="accent1"/>
              </a:solidFill>
            </a:rPr>
            <a:t>End-to-End</a:t>
          </a:r>
          <a:r>
            <a:rPr lang="en-GB" sz="2000" b="1">
              <a:solidFill>
                <a:schemeClr val="tx2"/>
              </a:solidFill>
            </a:rPr>
            <a:t> Compliance</a:t>
          </a:r>
        </a:p>
        <a:p>
          <a:endParaRPr lang="en-GB" sz="2000">
            <a:solidFill>
              <a:schemeClr val="tx2"/>
            </a:solidFill>
          </a:endParaRPr>
        </a:p>
        <a:p>
          <a:r>
            <a:rPr lang="en-GB" sz="1600">
              <a:solidFill>
                <a:schemeClr val="tx2"/>
              </a:solidFill>
            </a:rPr>
            <a:t>Seamless transitions from project to daily operations. </a:t>
          </a:r>
        </a:p>
        <a:p>
          <a:endParaRPr lang="en-GB" sz="1600">
            <a:solidFill>
              <a:schemeClr val="tx2"/>
            </a:solidFill>
          </a:endParaRPr>
        </a:p>
        <a:p>
          <a:r>
            <a:rPr lang="en-GB" sz="1600">
              <a:solidFill>
                <a:schemeClr val="tx2"/>
              </a:solidFill>
            </a:rPr>
            <a:t>Support for your entire process life cycle.</a:t>
          </a:r>
          <a:endParaRPr lang="da-DK" sz="1600" b="0">
            <a:solidFill>
              <a:schemeClr val="tx2"/>
            </a:solidFill>
          </a:endParaRPr>
        </a:p>
      </dgm:t>
    </dgm:pt>
    <dgm:pt modelId="{808BBFD5-6D78-41A5-9574-0E4335A16876}" type="parTrans" cxnId="{F4C0BF67-BB79-4802-BDCA-6E9FB729C6EC}">
      <dgm:prSet/>
      <dgm:spPr/>
      <dgm:t>
        <a:bodyPr/>
        <a:lstStyle/>
        <a:p>
          <a:endParaRPr lang="da-DK"/>
        </a:p>
      </dgm:t>
    </dgm:pt>
    <dgm:pt modelId="{B67D3A2E-47CA-42E8-A376-59D05E41AEEC}" type="sibTrans" cxnId="{F4C0BF67-BB79-4802-BDCA-6E9FB729C6EC}">
      <dgm:prSet/>
      <dgm:spPr/>
      <dgm:t>
        <a:bodyPr/>
        <a:lstStyle/>
        <a:p>
          <a:endParaRPr lang="da-DK"/>
        </a:p>
      </dgm:t>
    </dgm:pt>
    <dgm:pt modelId="{74FAF8DE-4F96-4EEA-975A-5452556FF17F}">
      <dgm:prSet phldrT="[Text]" custT="1"/>
      <dgm:spPr>
        <a:noFill/>
        <a:ln w="12700">
          <a:gradFill>
            <a:gsLst>
              <a:gs pos="0">
                <a:schemeClr val="accent1"/>
              </a:gs>
              <a:gs pos="100000">
                <a:schemeClr val="tx2"/>
              </a:gs>
            </a:gsLst>
            <a:lin ang="5400000" scaled="1"/>
          </a:gradFill>
        </a:ln>
      </dgm:spPr>
      <dgm:t>
        <a:bodyPr anchor="t"/>
        <a:lstStyle/>
        <a:p>
          <a:endParaRPr lang="en-GB" sz="2000">
            <a:solidFill>
              <a:schemeClr val="accent1"/>
            </a:solidFill>
          </a:endParaRPr>
        </a:p>
        <a:p>
          <a:r>
            <a:rPr lang="en-GB" sz="2000" b="1">
              <a:solidFill>
                <a:schemeClr val="accent1"/>
              </a:solidFill>
            </a:rPr>
            <a:t>Increased </a:t>
          </a:r>
          <a:br>
            <a:rPr lang="en-GB" sz="2000" b="1">
              <a:solidFill>
                <a:schemeClr val="accent1"/>
              </a:solidFill>
            </a:rPr>
          </a:br>
          <a:r>
            <a:rPr lang="en-GB" sz="2000" b="1">
              <a:solidFill>
                <a:schemeClr val="tx2"/>
              </a:solidFill>
            </a:rPr>
            <a:t>Production Time</a:t>
          </a:r>
        </a:p>
        <a:p>
          <a:endParaRPr lang="en-GB" sz="2000">
            <a:solidFill>
              <a:schemeClr val="tx2"/>
            </a:solidFill>
          </a:endParaRPr>
        </a:p>
        <a:p>
          <a:r>
            <a:rPr lang="en-GB" sz="1600">
              <a:solidFill>
                <a:schemeClr val="tx2"/>
              </a:solidFill>
            </a:rPr>
            <a:t>Scale teams and equipment to run tasks in parallel.</a:t>
          </a:r>
        </a:p>
        <a:p>
          <a:endParaRPr lang="en-GB" sz="1600" b="0">
            <a:solidFill>
              <a:schemeClr val="tx2"/>
            </a:solidFill>
          </a:endParaRPr>
        </a:p>
        <a:p>
          <a:r>
            <a:rPr lang="en-GB" sz="1600">
              <a:solidFill>
                <a:schemeClr val="tx2"/>
              </a:solidFill>
            </a:rPr>
            <a:t>Reduced downtime and maximized uptime. </a:t>
          </a:r>
          <a:endParaRPr lang="da-DK" sz="1600" b="0">
            <a:solidFill>
              <a:schemeClr val="tx2"/>
            </a:solidFill>
          </a:endParaRPr>
        </a:p>
      </dgm:t>
    </dgm:pt>
    <dgm:pt modelId="{6222C9ED-6D52-48A2-A649-BB759D5A9C7B}" type="parTrans" cxnId="{CEC72F95-FF1A-40CC-898D-ABEA2253D308}">
      <dgm:prSet/>
      <dgm:spPr/>
      <dgm:t>
        <a:bodyPr/>
        <a:lstStyle/>
        <a:p>
          <a:endParaRPr lang="da-DK"/>
        </a:p>
      </dgm:t>
    </dgm:pt>
    <dgm:pt modelId="{5D96F6E8-6BDA-47B5-B8E8-7B5DB0C87A86}" type="sibTrans" cxnId="{CEC72F95-FF1A-40CC-898D-ABEA2253D308}">
      <dgm:prSet/>
      <dgm:spPr/>
      <dgm:t>
        <a:bodyPr/>
        <a:lstStyle/>
        <a:p>
          <a:endParaRPr lang="da-DK"/>
        </a:p>
      </dgm:t>
    </dgm:pt>
    <dgm:pt modelId="{019EE28B-DD9C-4D3F-9185-9D7195E73A1E}">
      <dgm:prSet phldrT="[Text]" custT="1"/>
      <dgm:spPr>
        <a:gradFill rotWithShape="0">
          <a:gsLst>
            <a:gs pos="0">
              <a:schemeClr val="bg2">
                <a:alpha val="69000"/>
              </a:schemeClr>
            </a:gs>
            <a:gs pos="100000">
              <a:schemeClr val="bg1">
                <a:alpha val="0"/>
              </a:schemeClr>
            </a:gs>
          </a:gsLst>
          <a:lin ang="5400000" scaled="1"/>
        </a:gradFill>
        <a:ln w="12700">
          <a:gradFill>
            <a:gsLst>
              <a:gs pos="0">
                <a:schemeClr val="accent1"/>
              </a:gs>
              <a:gs pos="100000">
                <a:schemeClr val="tx2"/>
              </a:gs>
            </a:gsLst>
            <a:lin ang="5400000" scaled="1"/>
          </a:gradFill>
        </a:ln>
      </dgm:spPr>
      <dgm:t>
        <a:bodyPr anchor="t"/>
        <a:lstStyle/>
        <a:p>
          <a:endParaRPr lang="en-GB" sz="2000">
            <a:solidFill>
              <a:schemeClr val="tx2"/>
            </a:solidFill>
          </a:endParaRPr>
        </a:p>
        <a:p>
          <a:r>
            <a:rPr lang="en-GB" sz="2000" b="1">
              <a:solidFill>
                <a:schemeClr val="accent1"/>
              </a:solidFill>
            </a:rPr>
            <a:t>Global</a:t>
          </a:r>
          <a:r>
            <a:rPr lang="en-GB" sz="2000" b="1">
              <a:solidFill>
                <a:schemeClr val="tx2"/>
              </a:solidFill>
            </a:rPr>
            <a:t> Expertise </a:t>
          </a:r>
          <a:br>
            <a:rPr lang="en-GB" sz="2000" b="1">
              <a:solidFill>
                <a:schemeClr val="tx2"/>
              </a:solidFill>
            </a:rPr>
          </a:br>
          <a:r>
            <a:rPr lang="en-GB" sz="2000" b="1">
              <a:solidFill>
                <a:schemeClr val="accent1"/>
              </a:solidFill>
            </a:rPr>
            <a:t>&amp; Local </a:t>
          </a:r>
          <a:r>
            <a:rPr lang="en-GB" sz="2000" b="1">
              <a:solidFill>
                <a:schemeClr val="tx2"/>
              </a:solidFill>
            </a:rPr>
            <a:t>Reach</a:t>
          </a:r>
        </a:p>
        <a:p>
          <a:endParaRPr lang="en-GB" sz="2000"/>
        </a:p>
        <a:p>
          <a:r>
            <a:rPr lang="en-GB" sz="1600">
              <a:solidFill>
                <a:schemeClr val="tx2"/>
              </a:solidFill>
            </a:rPr>
            <a:t>Local teams deliver fast, on-site support across the globe. </a:t>
          </a:r>
        </a:p>
        <a:p>
          <a:endParaRPr lang="en-GB" sz="1600">
            <a:solidFill>
              <a:schemeClr val="tx2"/>
            </a:solidFill>
          </a:endParaRPr>
        </a:p>
        <a:p>
          <a:r>
            <a:rPr lang="en-GB" sz="1600">
              <a:solidFill>
                <a:schemeClr val="tx2"/>
              </a:solidFill>
            </a:rPr>
            <a:t>Global standards and tools adapted to your SOPs.</a:t>
          </a:r>
          <a:endParaRPr lang="da-DK" sz="1600" b="0">
            <a:solidFill>
              <a:schemeClr val="tx2"/>
            </a:solidFill>
          </a:endParaRPr>
        </a:p>
      </dgm:t>
    </dgm:pt>
    <dgm:pt modelId="{FF8C3F6D-097F-4533-98E9-BEB2C4F66E80}" type="parTrans" cxnId="{26435DCA-BF02-42DA-BC90-AFBCAED59647}">
      <dgm:prSet/>
      <dgm:spPr/>
      <dgm:t>
        <a:bodyPr/>
        <a:lstStyle/>
        <a:p>
          <a:endParaRPr lang="da-DK"/>
        </a:p>
      </dgm:t>
    </dgm:pt>
    <dgm:pt modelId="{3450B598-DAD6-426F-BF26-C47E499505B5}" type="sibTrans" cxnId="{26435DCA-BF02-42DA-BC90-AFBCAED59647}">
      <dgm:prSet/>
      <dgm:spPr/>
      <dgm:t>
        <a:bodyPr/>
        <a:lstStyle/>
        <a:p>
          <a:endParaRPr lang="da-DK"/>
        </a:p>
      </dgm:t>
    </dgm:pt>
    <dgm:pt modelId="{5DD83994-BB98-43B8-97CD-1283387C0E71}" type="pres">
      <dgm:prSet presAssocID="{AF5B3291-F690-4D3B-8A09-1BF787D37A6F}" presName="diagram" presStyleCnt="0">
        <dgm:presLayoutVars>
          <dgm:dir/>
          <dgm:resizeHandles val="exact"/>
        </dgm:presLayoutVars>
      </dgm:prSet>
      <dgm:spPr/>
    </dgm:pt>
    <dgm:pt modelId="{AD8A3925-B70D-4A94-BA4D-AEF63532FEDB}" type="pres">
      <dgm:prSet presAssocID="{8EB8573B-7E9F-4F43-920D-9D8C1568A5A4}" presName="node" presStyleLbl="node1" presStyleIdx="0" presStyleCnt="4" custScaleX="83119" custScaleY="199259">
        <dgm:presLayoutVars>
          <dgm:bulletEnabled val="1"/>
        </dgm:presLayoutVars>
      </dgm:prSet>
      <dgm:spPr>
        <a:prstGeom prst="snip2DiagRect">
          <a:avLst/>
        </a:prstGeom>
      </dgm:spPr>
    </dgm:pt>
    <dgm:pt modelId="{B9C022D4-5E15-48AA-8181-BD081B83E848}" type="pres">
      <dgm:prSet presAssocID="{A80D2F89-6638-4F6D-8784-F10ED356C8BC}" presName="sibTrans" presStyleCnt="0"/>
      <dgm:spPr/>
    </dgm:pt>
    <dgm:pt modelId="{A858D402-3475-46C4-85FF-0FC66905C818}" type="pres">
      <dgm:prSet presAssocID="{A2532692-2EB8-4FFF-B1AC-03B13CF59474}" presName="node" presStyleLbl="node1" presStyleIdx="1" presStyleCnt="4" custScaleX="83119" custScaleY="199259">
        <dgm:presLayoutVars>
          <dgm:bulletEnabled val="1"/>
        </dgm:presLayoutVars>
      </dgm:prSet>
      <dgm:spPr>
        <a:prstGeom prst="snip2DiagRect">
          <a:avLst/>
        </a:prstGeom>
      </dgm:spPr>
    </dgm:pt>
    <dgm:pt modelId="{95A4816A-429E-4E10-BF2D-AD481578B83B}" type="pres">
      <dgm:prSet presAssocID="{B67D3A2E-47CA-42E8-A376-59D05E41AEEC}" presName="sibTrans" presStyleCnt="0"/>
      <dgm:spPr/>
    </dgm:pt>
    <dgm:pt modelId="{E0F6273A-F22F-43E1-8679-6B4DE49FB4C5}" type="pres">
      <dgm:prSet presAssocID="{74FAF8DE-4F96-4EEA-975A-5452556FF17F}" presName="node" presStyleLbl="node1" presStyleIdx="2" presStyleCnt="4" custScaleX="83119" custScaleY="199259">
        <dgm:presLayoutVars>
          <dgm:bulletEnabled val="1"/>
        </dgm:presLayoutVars>
      </dgm:prSet>
      <dgm:spPr>
        <a:prstGeom prst="snip2DiagRect">
          <a:avLst/>
        </a:prstGeom>
      </dgm:spPr>
    </dgm:pt>
    <dgm:pt modelId="{6ECCE62F-6B3F-4893-8F9A-1942E7B2C1D6}" type="pres">
      <dgm:prSet presAssocID="{5D96F6E8-6BDA-47B5-B8E8-7B5DB0C87A86}" presName="sibTrans" presStyleCnt="0"/>
      <dgm:spPr/>
    </dgm:pt>
    <dgm:pt modelId="{9E940290-E515-4680-9BF4-3A26C99A73F7}" type="pres">
      <dgm:prSet presAssocID="{019EE28B-DD9C-4D3F-9185-9D7195E73A1E}" presName="node" presStyleLbl="node1" presStyleIdx="3" presStyleCnt="4" custScaleX="83119" custScaleY="199259">
        <dgm:presLayoutVars>
          <dgm:bulletEnabled val="1"/>
        </dgm:presLayoutVars>
      </dgm:prSet>
      <dgm:spPr>
        <a:prstGeom prst="snip2DiagRect">
          <a:avLst/>
        </a:prstGeom>
      </dgm:spPr>
    </dgm:pt>
  </dgm:ptLst>
  <dgm:cxnLst>
    <dgm:cxn modelId="{4EA4C90D-36FD-4509-9A46-CE1EEEB28862}" type="presOf" srcId="{AF5B3291-F690-4D3B-8A09-1BF787D37A6F}" destId="{5DD83994-BB98-43B8-97CD-1283387C0E71}" srcOrd="0" destOrd="0" presId="urn:microsoft.com/office/officeart/2005/8/layout/default"/>
    <dgm:cxn modelId="{087C611B-87ED-4BB1-9957-CD11229C9D18}" type="presOf" srcId="{A2532692-2EB8-4FFF-B1AC-03B13CF59474}" destId="{A858D402-3475-46C4-85FF-0FC66905C818}" srcOrd="0" destOrd="0" presId="urn:microsoft.com/office/officeart/2005/8/layout/default"/>
    <dgm:cxn modelId="{F4C0BF67-BB79-4802-BDCA-6E9FB729C6EC}" srcId="{AF5B3291-F690-4D3B-8A09-1BF787D37A6F}" destId="{A2532692-2EB8-4FFF-B1AC-03B13CF59474}" srcOrd="1" destOrd="0" parTransId="{808BBFD5-6D78-41A5-9574-0E4335A16876}" sibTransId="{B67D3A2E-47CA-42E8-A376-59D05E41AEEC}"/>
    <dgm:cxn modelId="{BE5B594A-39F6-4B31-A824-6C356F1D948E}" type="presOf" srcId="{74FAF8DE-4F96-4EEA-975A-5452556FF17F}" destId="{E0F6273A-F22F-43E1-8679-6B4DE49FB4C5}" srcOrd="0" destOrd="0" presId="urn:microsoft.com/office/officeart/2005/8/layout/default"/>
    <dgm:cxn modelId="{CEC72F95-FF1A-40CC-898D-ABEA2253D308}" srcId="{AF5B3291-F690-4D3B-8A09-1BF787D37A6F}" destId="{74FAF8DE-4F96-4EEA-975A-5452556FF17F}" srcOrd="2" destOrd="0" parTransId="{6222C9ED-6D52-48A2-A649-BB759D5A9C7B}" sibTransId="{5D96F6E8-6BDA-47B5-B8E8-7B5DB0C87A86}"/>
    <dgm:cxn modelId="{26435DCA-BF02-42DA-BC90-AFBCAED59647}" srcId="{AF5B3291-F690-4D3B-8A09-1BF787D37A6F}" destId="{019EE28B-DD9C-4D3F-9185-9D7195E73A1E}" srcOrd="3" destOrd="0" parTransId="{FF8C3F6D-097F-4533-98E9-BEB2C4F66E80}" sibTransId="{3450B598-DAD6-426F-BF26-C47E499505B5}"/>
    <dgm:cxn modelId="{6B2BE4E6-2C4B-433B-B66B-BFEEEA4D4436}" srcId="{AF5B3291-F690-4D3B-8A09-1BF787D37A6F}" destId="{8EB8573B-7E9F-4F43-920D-9D8C1568A5A4}" srcOrd="0" destOrd="0" parTransId="{78460058-A15C-48ED-A8C1-61661C00FFE9}" sibTransId="{A80D2F89-6638-4F6D-8784-F10ED356C8BC}"/>
    <dgm:cxn modelId="{E8494CF3-7887-4D93-B818-7F8927E321B6}" type="presOf" srcId="{8EB8573B-7E9F-4F43-920D-9D8C1568A5A4}" destId="{AD8A3925-B70D-4A94-BA4D-AEF63532FEDB}" srcOrd="0" destOrd="0" presId="urn:microsoft.com/office/officeart/2005/8/layout/default"/>
    <dgm:cxn modelId="{2D8CDDFD-9657-405F-9895-C7A0B0BF802A}" type="presOf" srcId="{019EE28B-DD9C-4D3F-9185-9D7195E73A1E}" destId="{9E940290-E515-4680-9BF4-3A26C99A73F7}" srcOrd="0" destOrd="0" presId="urn:microsoft.com/office/officeart/2005/8/layout/default"/>
    <dgm:cxn modelId="{F45784E5-107E-4A4D-95DF-1DCC376634C6}" type="presParOf" srcId="{5DD83994-BB98-43B8-97CD-1283387C0E71}" destId="{AD8A3925-B70D-4A94-BA4D-AEF63532FEDB}" srcOrd="0" destOrd="0" presId="urn:microsoft.com/office/officeart/2005/8/layout/default"/>
    <dgm:cxn modelId="{AEE8819A-D970-46A8-A6E2-ABABAEDF1530}" type="presParOf" srcId="{5DD83994-BB98-43B8-97CD-1283387C0E71}" destId="{B9C022D4-5E15-48AA-8181-BD081B83E848}" srcOrd="1" destOrd="0" presId="urn:microsoft.com/office/officeart/2005/8/layout/default"/>
    <dgm:cxn modelId="{415353B9-A908-4079-A2A6-5582D2ADF65C}" type="presParOf" srcId="{5DD83994-BB98-43B8-97CD-1283387C0E71}" destId="{A858D402-3475-46C4-85FF-0FC66905C818}" srcOrd="2" destOrd="0" presId="urn:microsoft.com/office/officeart/2005/8/layout/default"/>
    <dgm:cxn modelId="{0344FA99-4280-4F8D-A645-72A27EC0300F}" type="presParOf" srcId="{5DD83994-BB98-43B8-97CD-1283387C0E71}" destId="{95A4816A-429E-4E10-BF2D-AD481578B83B}" srcOrd="3" destOrd="0" presId="urn:microsoft.com/office/officeart/2005/8/layout/default"/>
    <dgm:cxn modelId="{8FAA2DB8-114E-40DB-9C7D-896CBCCD6C02}" type="presParOf" srcId="{5DD83994-BB98-43B8-97CD-1283387C0E71}" destId="{E0F6273A-F22F-43E1-8679-6B4DE49FB4C5}" srcOrd="4" destOrd="0" presId="urn:microsoft.com/office/officeart/2005/8/layout/default"/>
    <dgm:cxn modelId="{958B240C-FDF9-42CE-9EAD-FEF9FA25DDC2}" type="presParOf" srcId="{5DD83994-BB98-43B8-97CD-1283387C0E71}" destId="{6ECCE62F-6B3F-4893-8F9A-1942E7B2C1D6}" srcOrd="5" destOrd="0" presId="urn:microsoft.com/office/officeart/2005/8/layout/default"/>
    <dgm:cxn modelId="{CEE819D1-B4CE-4708-806E-165914C725F0}" type="presParOf" srcId="{5DD83994-BB98-43B8-97CD-1283387C0E71}" destId="{9E940290-E515-4680-9BF4-3A26C99A73F7}" srcOrd="6"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8A3925-B70D-4A94-BA4D-AEF63532FEDB}">
      <dsp:nvSpPr>
        <dsp:cNvPr id="0" name=""/>
        <dsp:cNvSpPr/>
      </dsp:nvSpPr>
      <dsp:spPr>
        <a:xfrm>
          <a:off x="29" y="164939"/>
          <a:ext cx="2627987" cy="3780003"/>
        </a:xfrm>
        <a:prstGeom prst="snip2DiagRect">
          <a:avLst/>
        </a:prstGeom>
        <a:noFill/>
        <a:ln w="12700" cap="flat" cmpd="sng" algn="ctr">
          <a:gradFill>
            <a:gsLst>
              <a:gs pos="0">
                <a:schemeClr val="accent1">
                  <a:alpha val="55000"/>
                </a:schemeClr>
              </a:gs>
              <a:gs pos="4500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b="1"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Reduced </a:t>
          </a:r>
          <a:br>
            <a:rPr lang="en-GB" sz="2000" b="1" kern="1200">
              <a:solidFill>
                <a:schemeClr val="accent1"/>
              </a:solidFill>
            </a:rPr>
          </a:br>
          <a:r>
            <a:rPr lang="en-GB" sz="2000" b="1" kern="1200">
              <a:solidFill>
                <a:schemeClr val="tx2"/>
              </a:solidFill>
            </a:rPr>
            <a:t>Vendor Complexity</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US" sz="1600" kern="1200">
              <a:solidFill>
                <a:schemeClr val="tx2"/>
              </a:solidFill>
              <a:ea typeface="Aptos" panose="020B0004020202020204" pitchFamily="34" charset="0"/>
              <a:cs typeface="Times New Roman" panose="02020603050405020304" pitchFamily="18" charset="0"/>
            </a:rPr>
            <a:t>Less time and money spent on coordination and training. </a:t>
          </a:r>
        </a:p>
        <a:p>
          <a:pPr marL="0" lvl="0" indent="0" algn="ctr" defTabSz="889000">
            <a:lnSpc>
              <a:spcPct val="90000"/>
            </a:lnSpc>
            <a:spcBef>
              <a:spcPct val="0"/>
            </a:spcBef>
            <a:spcAft>
              <a:spcPct val="35000"/>
            </a:spcAft>
            <a:buNone/>
          </a:pPr>
          <a:endParaRPr lang="en-US" sz="1600" kern="1200">
            <a:solidFill>
              <a:schemeClr val="tx2"/>
            </a:solidFill>
            <a:ea typeface="Aptos" panose="020B0004020202020204" pitchFamily="34" charset="0"/>
            <a:cs typeface="Times New Roman" panose="02020603050405020304" pitchFamily="18" charset="0"/>
          </a:endParaRPr>
        </a:p>
        <a:p>
          <a:pPr marL="0" lvl="0" indent="0" algn="ctr" defTabSz="889000">
            <a:lnSpc>
              <a:spcPct val="90000"/>
            </a:lnSpc>
            <a:spcBef>
              <a:spcPct val="0"/>
            </a:spcBef>
            <a:spcAft>
              <a:spcPct val="35000"/>
            </a:spcAft>
            <a:buNone/>
          </a:pPr>
          <a:r>
            <a:rPr lang="en-US" sz="1600" kern="1200">
              <a:solidFill>
                <a:schemeClr val="tx2"/>
              </a:solidFill>
              <a:ea typeface="Aptos" panose="020B0004020202020204" pitchFamily="34" charset="0"/>
              <a:cs typeface="Times New Roman" panose="02020603050405020304" pitchFamily="18" charset="0"/>
            </a:rPr>
            <a:t>More consistency. </a:t>
          </a:r>
          <a:endParaRPr lang="en-GB" sz="1600" kern="1200">
            <a:solidFill>
              <a:schemeClr val="tx2"/>
            </a:solidFill>
          </a:endParaRPr>
        </a:p>
      </dsp:txBody>
      <dsp:txXfrm>
        <a:off x="219032" y="383942"/>
        <a:ext cx="2189981" cy="3341997"/>
      </dsp:txXfrm>
    </dsp:sp>
    <dsp:sp modelId="{A858D402-3475-46C4-85FF-0FC66905C818}">
      <dsp:nvSpPr>
        <dsp:cNvPr id="0" name=""/>
        <dsp:cNvSpPr/>
      </dsp:nvSpPr>
      <dsp:spPr>
        <a:xfrm>
          <a:off x="2944188" y="164939"/>
          <a:ext cx="2627987" cy="3780003"/>
        </a:xfrm>
        <a:prstGeom prst="snip2DiagRect">
          <a:avLst/>
        </a:prstGeom>
        <a:no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b="1"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End-to-End</a:t>
          </a:r>
          <a:r>
            <a:rPr lang="en-GB" sz="2000" b="1" kern="1200">
              <a:solidFill>
                <a:schemeClr val="tx2"/>
              </a:solidFill>
            </a:rPr>
            <a:t> Compliance</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eamless transitions from project to daily operations. </a:t>
          </a:r>
        </a:p>
        <a:p>
          <a:pPr marL="0" lvl="0" indent="0" algn="ctr" defTabSz="889000">
            <a:lnSpc>
              <a:spcPct val="90000"/>
            </a:lnSpc>
            <a:spcBef>
              <a:spcPct val="0"/>
            </a:spcBef>
            <a:spcAft>
              <a:spcPct val="35000"/>
            </a:spcAft>
            <a:buNone/>
          </a:pPr>
          <a:endParaRPr lang="en-GB" sz="16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upport for your entire process life cycle.</a:t>
          </a:r>
          <a:endParaRPr lang="da-DK" sz="1600" b="0" kern="1200">
            <a:solidFill>
              <a:schemeClr val="tx2"/>
            </a:solidFill>
          </a:endParaRPr>
        </a:p>
      </dsp:txBody>
      <dsp:txXfrm>
        <a:off x="3163191" y="383942"/>
        <a:ext cx="2189981" cy="3341997"/>
      </dsp:txXfrm>
    </dsp:sp>
    <dsp:sp modelId="{E0F6273A-F22F-43E1-8679-6B4DE49FB4C5}">
      <dsp:nvSpPr>
        <dsp:cNvPr id="0" name=""/>
        <dsp:cNvSpPr/>
      </dsp:nvSpPr>
      <dsp:spPr>
        <a:xfrm>
          <a:off x="5888347" y="164939"/>
          <a:ext cx="2627987" cy="3780003"/>
        </a:xfrm>
        <a:prstGeom prst="snip2DiagRect">
          <a:avLst/>
        </a:prstGeom>
        <a:no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kern="1200">
            <a:solidFill>
              <a:schemeClr val="accent1"/>
            </a:solidFill>
          </a:endParaRPr>
        </a:p>
        <a:p>
          <a:pPr marL="0" lvl="0" indent="0" algn="ctr" defTabSz="889000">
            <a:lnSpc>
              <a:spcPct val="90000"/>
            </a:lnSpc>
            <a:spcBef>
              <a:spcPct val="0"/>
            </a:spcBef>
            <a:spcAft>
              <a:spcPct val="35000"/>
            </a:spcAft>
            <a:buNone/>
          </a:pPr>
          <a:r>
            <a:rPr lang="en-GB" sz="2000" b="1" kern="1200">
              <a:solidFill>
                <a:schemeClr val="accent1"/>
              </a:solidFill>
            </a:rPr>
            <a:t>Increased </a:t>
          </a:r>
          <a:br>
            <a:rPr lang="en-GB" sz="2000" b="1" kern="1200">
              <a:solidFill>
                <a:schemeClr val="accent1"/>
              </a:solidFill>
            </a:rPr>
          </a:br>
          <a:r>
            <a:rPr lang="en-GB" sz="2000" b="1" kern="1200">
              <a:solidFill>
                <a:schemeClr val="tx2"/>
              </a:solidFill>
            </a:rPr>
            <a:t>Production Time</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cale teams and equipment to run tasks in parallel.</a:t>
          </a:r>
        </a:p>
        <a:p>
          <a:pPr marL="0" lvl="0" indent="0" algn="ctr" defTabSz="889000">
            <a:lnSpc>
              <a:spcPct val="90000"/>
            </a:lnSpc>
            <a:spcBef>
              <a:spcPct val="0"/>
            </a:spcBef>
            <a:spcAft>
              <a:spcPct val="35000"/>
            </a:spcAft>
            <a:buNone/>
          </a:pPr>
          <a:endParaRPr lang="en-GB" sz="1600" b="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Reduced downtime and maximized uptime. </a:t>
          </a:r>
          <a:endParaRPr lang="da-DK" sz="1600" b="0" kern="1200">
            <a:solidFill>
              <a:schemeClr val="tx2"/>
            </a:solidFill>
          </a:endParaRPr>
        </a:p>
      </dsp:txBody>
      <dsp:txXfrm>
        <a:off x="6107350" y="383942"/>
        <a:ext cx="2189981" cy="3341997"/>
      </dsp:txXfrm>
    </dsp:sp>
    <dsp:sp modelId="{9E940290-E515-4680-9BF4-3A26C99A73F7}">
      <dsp:nvSpPr>
        <dsp:cNvPr id="0" name=""/>
        <dsp:cNvSpPr/>
      </dsp:nvSpPr>
      <dsp:spPr>
        <a:xfrm>
          <a:off x="8832506" y="164939"/>
          <a:ext cx="2627987" cy="3780003"/>
        </a:xfrm>
        <a:prstGeom prst="snip2DiagRect">
          <a:avLst/>
        </a:prstGeom>
        <a:gradFill rotWithShape="0">
          <a:gsLst>
            <a:gs pos="0">
              <a:schemeClr val="bg2">
                <a:alpha val="69000"/>
              </a:schemeClr>
            </a:gs>
            <a:gs pos="100000">
              <a:schemeClr val="bg1">
                <a:alpha val="0"/>
              </a:schemeClr>
            </a:gs>
          </a:gsLst>
          <a:lin ang="5400000" scaled="1"/>
        </a:grad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Global</a:t>
          </a:r>
          <a:r>
            <a:rPr lang="en-GB" sz="2000" b="1" kern="1200">
              <a:solidFill>
                <a:schemeClr val="tx2"/>
              </a:solidFill>
            </a:rPr>
            <a:t> Expertise </a:t>
          </a:r>
          <a:br>
            <a:rPr lang="en-GB" sz="2000" b="1" kern="1200">
              <a:solidFill>
                <a:schemeClr val="tx2"/>
              </a:solidFill>
            </a:rPr>
          </a:br>
          <a:r>
            <a:rPr lang="en-GB" sz="2000" b="1" kern="1200">
              <a:solidFill>
                <a:schemeClr val="accent1"/>
              </a:solidFill>
            </a:rPr>
            <a:t>&amp; Local </a:t>
          </a:r>
          <a:r>
            <a:rPr lang="en-GB" sz="2000" b="1" kern="1200">
              <a:solidFill>
                <a:schemeClr val="tx2"/>
              </a:solidFill>
            </a:rPr>
            <a:t>Reach</a:t>
          </a:r>
        </a:p>
        <a:p>
          <a:pPr marL="0" lvl="0" indent="0" algn="ctr" defTabSz="889000">
            <a:lnSpc>
              <a:spcPct val="90000"/>
            </a:lnSpc>
            <a:spcBef>
              <a:spcPct val="0"/>
            </a:spcBef>
            <a:spcAft>
              <a:spcPct val="35000"/>
            </a:spcAft>
            <a:buNone/>
          </a:pPr>
          <a:endParaRPr lang="en-GB" sz="2000" kern="1200"/>
        </a:p>
        <a:p>
          <a:pPr marL="0" lvl="0" indent="0" algn="ctr" defTabSz="889000">
            <a:lnSpc>
              <a:spcPct val="90000"/>
            </a:lnSpc>
            <a:spcBef>
              <a:spcPct val="0"/>
            </a:spcBef>
            <a:spcAft>
              <a:spcPct val="35000"/>
            </a:spcAft>
            <a:buNone/>
          </a:pPr>
          <a:r>
            <a:rPr lang="en-GB" sz="1600" kern="1200">
              <a:solidFill>
                <a:schemeClr val="tx2"/>
              </a:solidFill>
            </a:rPr>
            <a:t>Local teams deliver fast, on-site support across the globe. </a:t>
          </a:r>
        </a:p>
        <a:p>
          <a:pPr marL="0" lvl="0" indent="0" algn="ctr" defTabSz="889000">
            <a:lnSpc>
              <a:spcPct val="90000"/>
            </a:lnSpc>
            <a:spcBef>
              <a:spcPct val="0"/>
            </a:spcBef>
            <a:spcAft>
              <a:spcPct val="35000"/>
            </a:spcAft>
            <a:buNone/>
          </a:pPr>
          <a:endParaRPr lang="en-GB" sz="16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Global standards and tools adapted to your SOPs.</a:t>
          </a:r>
          <a:endParaRPr lang="da-DK" sz="1600" b="0" kern="1200">
            <a:solidFill>
              <a:schemeClr val="tx2"/>
            </a:solidFill>
          </a:endParaRPr>
        </a:p>
      </dsp:txBody>
      <dsp:txXfrm>
        <a:off x="9051509" y="383942"/>
        <a:ext cx="2189981" cy="334199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vl1pPr>
          </a:lstStyle>
          <a:p>
            <a:pPr>
              <a:defRPr/>
            </a:pPr>
            <a:endParaRPr lang="da-DK">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4023992" y="0"/>
            <a:ext cx="3078427" cy="513508"/>
          </a:xfrm>
          <a:prstGeom prst="rect">
            <a:avLst/>
          </a:prstGeom>
        </p:spPr>
        <p:txBody>
          <a:bodyPr vert="horz" lIns="96661" tIns="48331" rIns="96661" bIns="48331" rtlCol="0"/>
          <a:lstStyle>
            <a:lvl1pPr algn="r">
              <a:defRPr sz="1300" smtClean="0"/>
            </a:lvl1pPr>
          </a:lstStyle>
          <a:p>
            <a:pPr>
              <a:defRPr/>
            </a:pPr>
            <a:fld id="{0B0AE310-B012-674C-8A21-80655F57D4E0}" type="datetimeFigureOut">
              <a:rPr lang="da-DK">
                <a:latin typeface="Ellab Sans" panose="02000503000000020004" pitchFamily="2" charset="0"/>
              </a:rPr>
              <a:pPr>
                <a:defRPr/>
              </a:pPr>
              <a:t>04-09-2025</a:t>
            </a:fld>
            <a:endParaRPr lang="da-DK">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9721106"/>
            <a:ext cx="3078427" cy="513507"/>
          </a:xfrm>
          <a:prstGeom prst="rect">
            <a:avLst/>
          </a:prstGeom>
        </p:spPr>
        <p:txBody>
          <a:bodyPr vert="horz" lIns="96661" tIns="48331" rIns="96661" bIns="48331" rtlCol="0" anchor="b"/>
          <a:lstStyle>
            <a:lvl1pPr algn="l">
              <a:defRPr sz="1300"/>
            </a:lvl1pPr>
          </a:lstStyle>
          <a:p>
            <a:pPr>
              <a:defRPr/>
            </a:pPr>
            <a:endParaRPr lang="da-DK">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4023992" y="9721106"/>
            <a:ext cx="3078427" cy="513507"/>
          </a:xfrm>
          <a:prstGeom prst="rect">
            <a:avLst/>
          </a:prstGeom>
        </p:spPr>
        <p:txBody>
          <a:bodyPr vert="horz" lIns="96661" tIns="48331" rIns="96661" bIns="48331" rtlCol="0" anchor="b"/>
          <a:lstStyle>
            <a:lvl1pPr algn="r">
              <a:defRPr sz="1300" smtClean="0"/>
            </a:lvl1pPr>
          </a:lstStyle>
          <a:p>
            <a:pPr>
              <a:defRPr/>
            </a:pPr>
            <a:fld id="{A8A2EB59-D83D-7A45-98D9-85F928BE1804}" type="slidenum">
              <a:rPr lang="da-DK">
                <a:latin typeface="Ellab Sans" panose="02000503000000020004" pitchFamily="2" charset="0"/>
              </a:rPr>
              <a:pPr>
                <a:defRPr/>
              </a:pPr>
              <a:t>‹#›</a:t>
            </a:fld>
            <a:endParaRPr lang="da-DK">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atin typeface="Ellab Sans" panose="02000503000000020004" pitchFamily="2" charset="0"/>
              </a:defRPr>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4023992" y="0"/>
            <a:ext cx="3078427" cy="513508"/>
          </a:xfrm>
          <a:prstGeom prst="rect">
            <a:avLst/>
          </a:prstGeom>
        </p:spPr>
        <p:txBody>
          <a:bodyPr vert="horz" lIns="96661" tIns="48331" rIns="96661" bIns="48331" rtlCol="0"/>
          <a:lstStyle>
            <a:lvl1pPr algn="r">
              <a:defRPr sz="1300" smtClean="0">
                <a:latin typeface="Ellab Sans" panose="02000503000000020004" pitchFamily="2" charset="0"/>
              </a:defRPr>
            </a:lvl1pPr>
          </a:lstStyle>
          <a:p>
            <a:pPr>
              <a:defRPr/>
            </a:pPr>
            <a:fld id="{AAFF2690-4DF5-C147-9830-1EEC22D7D0B2}" type="datetimeFigureOut">
              <a:rPr lang="da-DK" smtClean="0"/>
              <a:pPr>
                <a:defRPr/>
              </a:pPr>
              <a:t>04-09-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6661" tIns="48331" rIns="96661" bIns="48331"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710407" y="4925408"/>
            <a:ext cx="5683250" cy="4029879"/>
          </a:xfrm>
          <a:prstGeom prst="rect">
            <a:avLst/>
          </a:prstGeom>
        </p:spPr>
        <p:txBody>
          <a:bodyPr vert="horz" lIns="96661" tIns="48331" rIns="96661" bIns="48331"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9721106"/>
            <a:ext cx="3078427" cy="513507"/>
          </a:xfrm>
          <a:prstGeom prst="rect">
            <a:avLst/>
          </a:prstGeom>
        </p:spPr>
        <p:txBody>
          <a:bodyPr vert="horz" lIns="96661" tIns="48331" rIns="96661" bIns="48331" rtlCol="0" anchor="b"/>
          <a:lstStyle>
            <a:lvl1pPr algn="l">
              <a:defRPr sz="1300">
                <a:latin typeface="Ellab Sans" panose="02000503000000020004" pitchFamily="2" charset="0"/>
              </a:defRPr>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4023992" y="9721106"/>
            <a:ext cx="3078427" cy="513507"/>
          </a:xfrm>
          <a:prstGeom prst="rect">
            <a:avLst/>
          </a:prstGeom>
        </p:spPr>
        <p:txBody>
          <a:bodyPr vert="horz" lIns="96661" tIns="48331" rIns="96661" bIns="48331" rtlCol="0" anchor="b"/>
          <a:lstStyle>
            <a:lvl1pPr algn="r">
              <a:defRPr sz="1300" smtClean="0">
                <a:latin typeface="Ellab Sans" panose="02000503000000020004" pitchFamily="2" charset="0"/>
              </a:defRPr>
            </a:lvl1pPr>
          </a:lstStyle>
          <a:p>
            <a:pPr>
              <a:defRPr/>
            </a:pPr>
            <a:fld id="{BC49A242-0154-F74C-A511-93BF6AB15D8C}" type="slidenum">
              <a:rPr lang="da-DK" smtClean="0"/>
              <a:pPr>
                <a:defRPr/>
              </a:pPr>
              <a:t>‹#›</a:t>
            </a:fld>
            <a:endParaRPr lang="da-DK"/>
          </a:p>
        </p:txBody>
      </p:sp>
    </p:spTree>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3ADE8-4ACC-5ED7-8EF8-0EABB0E674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90B56-810C-3E25-9261-5E6C300BC5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2362E1-9A0A-94BF-A1EA-1B23102FF1BC}"/>
              </a:ext>
            </a:extLst>
          </p:cNvPr>
          <p:cNvSpPr>
            <a:spLocks noGrp="1"/>
          </p:cNvSpPr>
          <p:nvPr>
            <p:ph type="body" idx="1"/>
          </p:nvPr>
        </p:nvSpPr>
        <p:spPr/>
        <p:txBody>
          <a:bodyPr/>
          <a:lstStyle/>
          <a:p>
            <a:endParaRPr lang="da-DK"/>
          </a:p>
        </p:txBody>
      </p:sp>
    </p:spTree>
    <p:extLst>
      <p:ext uri="{BB962C8B-B14F-4D97-AF65-F5344CB8AC3E}">
        <p14:creationId xmlns:p14="http://schemas.microsoft.com/office/powerpoint/2010/main" val="1754962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75483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0510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70A89-9F7E-EEA7-A419-FE61027D2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A4FA18-CD89-7953-0494-B202D19817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360204-F77C-BA1A-01BC-8118E3B45A56}"/>
              </a:ext>
            </a:extLst>
          </p:cNvPr>
          <p:cNvSpPr>
            <a:spLocks noGrp="1"/>
          </p:cNvSpPr>
          <p:nvPr>
            <p:ph type="body" idx="1"/>
          </p:nvPr>
        </p:nvSpPr>
        <p:spPr/>
        <p:txBody>
          <a:bodyPr/>
          <a:lstStyle/>
          <a:p>
            <a:r>
              <a:rPr lang="en-GB"/>
              <a:t>Customer: Merck &amp; Co.</a:t>
            </a:r>
            <a:endParaRPr lang="da-DK"/>
          </a:p>
        </p:txBody>
      </p:sp>
    </p:spTree>
    <p:extLst>
      <p:ext uri="{BB962C8B-B14F-4D97-AF65-F5344CB8AC3E}">
        <p14:creationId xmlns:p14="http://schemas.microsoft.com/office/powerpoint/2010/main" val="3785489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255FE-6411-0497-2EB6-6F58B12ED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8043C-F511-E23D-EDA0-63EBADFE2C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2C9479-CD4B-E135-FCD0-7B6936DC4722}"/>
              </a:ext>
            </a:extLst>
          </p:cNvPr>
          <p:cNvSpPr>
            <a:spLocks noGrp="1"/>
          </p:cNvSpPr>
          <p:nvPr>
            <p:ph type="body" idx="1"/>
          </p:nvPr>
        </p:nvSpPr>
        <p:spPr/>
        <p:txBody>
          <a:bodyPr/>
          <a:lstStyle/>
          <a:p>
            <a:r>
              <a:rPr lang="en-GB"/>
              <a:t>Customer: Merck &amp; Co.</a:t>
            </a:r>
            <a:endParaRPr lang="da-DK"/>
          </a:p>
        </p:txBody>
      </p:sp>
    </p:spTree>
    <p:extLst>
      <p:ext uri="{BB962C8B-B14F-4D97-AF65-F5344CB8AC3E}">
        <p14:creationId xmlns:p14="http://schemas.microsoft.com/office/powerpoint/2010/main" val="1642534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16950-18D4-E192-9408-89A6664980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E68A9-0D6C-F608-59BD-75347CF0E3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963D8-0779-D8F1-D545-CA4476F3E756}"/>
              </a:ext>
            </a:extLst>
          </p:cNvPr>
          <p:cNvSpPr>
            <a:spLocks noGrp="1"/>
          </p:cNvSpPr>
          <p:nvPr>
            <p:ph type="body" idx="1"/>
          </p:nvPr>
        </p:nvSpPr>
        <p:spPr/>
        <p:txBody>
          <a:bodyPr/>
          <a:lstStyle/>
          <a:p>
            <a:r>
              <a:rPr lang="en-GB"/>
              <a:t>Customer: Merck &amp; Co.</a:t>
            </a:r>
            <a:endParaRPr lang="da-DK"/>
          </a:p>
        </p:txBody>
      </p:sp>
    </p:spTree>
    <p:extLst>
      <p:ext uri="{BB962C8B-B14F-4D97-AF65-F5344CB8AC3E}">
        <p14:creationId xmlns:p14="http://schemas.microsoft.com/office/powerpoint/2010/main" val="1136887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22768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1618313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5445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92B5F-511F-3E41-7C7C-0DC2FD605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DA652-968F-0D79-601F-D0F41C774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210486-A6A3-DBD6-D6A9-354A9E263BA6}"/>
              </a:ext>
            </a:extLst>
          </p:cNvPr>
          <p:cNvSpPr>
            <a:spLocks noGrp="1"/>
          </p:cNvSpPr>
          <p:nvPr>
            <p:ph type="body" idx="1"/>
          </p:nvPr>
        </p:nvSpPr>
        <p:spPr/>
        <p:txBody>
          <a:bodyPr/>
          <a:lstStyle/>
          <a:p>
            <a:endParaRPr lang="en-DK"/>
          </a:p>
        </p:txBody>
      </p:sp>
    </p:spTree>
    <p:extLst>
      <p:ext uri="{BB962C8B-B14F-4D97-AF65-F5344CB8AC3E}">
        <p14:creationId xmlns:p14="http://schemas.microsoft.com/office/powerpoint/2010/main" val="3397929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a:defRPr/>
            </a:pPr>
            <a:fld id="{BC49A242-0154-F74C-A511-93BF6AB15D8C}" type="slidenum">
              <a:rPr lang="da-DK" smtClean="0"/>
              <a:pPr>
                <a:defRPr/>
              </a:pPr>
              <a:t>15</a:t>
            </a:fld>
            <a:endParaRPr lang="da-DK"/>
          </a:p>
        </p:txBody>
      </p:sp>
    </p:spTree>
    <p:extLst>
      <p:ext uri="{BB962C8B-B14F-4D97-AF65-F5344CB8AC3E}">
        <p14:creationId xmlns:p14="http://schemas.microsoft.com/office/powerpoint/2010/main" val="40160800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svg"/><Relationship Id="rId2" Type="http://schemas.openxmlformats.org/officeDocument/2006/relationships/image" Target="../media/image25.jpe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svg"/><Relationship Id="rId2" Type="http://schemas.openxmlformats.org/officeDocument/2006/relationships/image" Target="../media/image25.jpe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2F1112-D4E2-4405-B1C1-0B72DB1410F6}"/>
              </a:ext>
            </a:extLst>
          </p:cNvPr>
          <p:cNvGraphicFramePr>
            <a:graphicFrameLocks noChangeAspect="1"/>
          </p:cNvGraphicFramePr>
          <p:nvPr userDrawn="1">
            <p:custDataLst>
              <p:tags r:id="rId1"/>
            </p:custDataLst>
            <p:extLst>
              <p:ext uri="{D42A27DB-BD31-4B8C-83A1-F6EECF244321}">
                <p14:modId xmlns:p14="http://schemas.microsoft.com/office/powerpoint/2010/main" val="282168548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CD2F1112-D4E2-4405-B1C1-0B72DB1410F6}"/>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2" y="603507"/>
            <a:ext cx="9235868"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0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GB"/>
              <a:t>Click to edit Master title style</a:t>
            </a:r>
            <a:endParaRPr/>
          </a:p>
        </p:txBody>
      </p:sp>
      <p:sp>
        <p:nvSpPr>
          <p:cNvPr id="12" name="Text Placeholder 3"/>
          <p:cNvSpPr>
            <a:spLocks noGrp="1"/>
          </p:cNvSpPr>
          <p:nvPr>
            <p:ph type="body" sz="quarter" idx="10"/>
          </p:nvPr>
        </p:nvSpPr>
        <p:spPr>
          <a:xfrm>
            <a:off x="813781" y="1323335"/>
            <a:ext cx="9234108" cy="283955"/>
          </a:xfrm>
          <a:prstGeom prst="rect">
            <a:avLst/>
          </a:prstGeom>
        </p:spPr>
        <p:txBody>
          <a:bodyPr/>
          <a:lstStyle>
            <a:lvl1pPr>
              <a:buNone/>
              <a:defRPr sz="1400" b="1" i="0">
                <a:solidFill>
                  <a:schemeClr val="bg2">
                    <a:lumMod val="10000"/>
                  </a:schemeClr>
                </a:solidFill>
                <a:latin typeface="+mj-lt"/>
              </a:defRPr>
            </a:lvl1pPr>
          </a:lstStyle>
          <a:p>
            <a:pPr lvl="0"/>
            <a:r>
              <a:rPr lang="en-GB"/>
              <a:t>Click to edit Master text styles</a:t>
            </a:r>
          </a:p>
        </p:txBody>
      </p:sp>
      <p:sp>
        <p:nvSpPr>
          <p:cNvPr id="13" name="Text Placeholder 2"/>
          <p:cNvSpPr>
            <a:spLocks noGrp="1"/>
          </p:cNvSpPr>
          <p:nvPr>
            <p:ph type="body" sz="quarter" idx="11"/>
          </p:nvPr>
        </p:nvSpPr>
        <p:spPr>
          <a:xfrm>
            <a:off x="813779" y="1769224"/>
            <a:ext cx="10802487" cy="4801444"/>
          </a:xfrm>
          <a:prstGeom prst="rect">
            <a:avLst/>
          </a:prstGeom>
        </p:spPr>
        <p:txBody>
          <a:bodyPr/>
          <a:lstStyle>
            <a:lvl1pPr>
              <a:buNone/>
              <a:defRPr sz="1400" b="1" i="0">
                <a:latin typeface="+mj-lt"/>
              </a:defRPr>
            </a:lvl1pPr>
            <a:lvl2pPr marL="361796">
              <a:buClr>
                <a:srgbClr val="1F6898"/>
              </a:buClr>
              <a:buSzPct val="80000"/>
              <a:defRPr sz="1200" b="0" i="0">
                <a:solidFill>
                  <a:schemeClr val="bg2">
                    <a:lumMod val="10000"/>
                  </a:schemeClr>
                </a:solidFill>
                <a:latin typeface="+mn-lt"/>
              </a:defRPr>
            </a:lvl2pPr>
            <a:lvl3pPr marL="719993">
              <a:buClr>
                <a:srgbClr val="1F6898"/>
              </a:buClr>
              <a:buSzPct val="80000"/>
              <a:defRPr sz="1200" b="0" i="0">
                <a:solidFill>
                  <a:schemeClr val="bg2">
                    <a:lumMod val="10000"/>
                  </a:schemeClr>
                </a:solidFill>
                <a:latin typeface="+mn-lt"/>
              </a:defRPr>
            </a:lvl3pPr>
            <a:lvl4pPr marL="1079989">
              <a:buClr>
                <a:srgbClr val="1F6898"/>
              </a:buClr>
              <a:buSzPct val="80000"/>
              <a:defRPr sz="1200" b="0" i="0">
                <a:solidFill>
                  <a:schemeClr val="bg2">
                    <a:lumMod val="10000"/>
                  </a:schemeClr>
                </a:solidFill>
                <a:latin typeface="+mn-lt"/>
              </a:defRPr>
            </a:lvl4pPr>
            <a:lvl5pPr marL="1439986">
              <a:buClr>
                <a:srgbClr val="1F6898"/>
              </a:buClr>
              <a:buSzPct val="80000"/>
              <a:defRPr sz="1200" b="0" i="0">
                <a:solidFill>
                  <a:schemeClr val="bg2">
                    <a:lumMod val="10000"/>
                  </a:schemeClr>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0091575"/>
      </p:ext>
    </p:extLst>
  </p:cSld>
  <p:clrMapOvr>
    <a:masterClrMapping/>
  </p:clrMapOvr>
  <p:extLst>
    <p:ext uri="{DCECCB84-F9BA-43D5-87BE-67443E8EF086}">
      <p15:sldGuideLst xmlns:p15="http://schemas.microsoft.com/office/powerpoint/2012/main">
        <p15:guide id="1" orient="horz" pos="1800">
          <p15:clr>
            <a:srgbClr val="FBAE40"/>
          </p15:clr>
        </p15:guide>
        <p15:guide id="2" pos="2880">
          <p15:clr>
            <a:srgbClr val="FBAE40"/>
          </p15:clr>
        </p15:guide>
        <p15:guide id="3" pos="54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err="1"/>
              <a:t>Insert</a:t>
            </a:r>
            <a:r>
              <a:rPr lang="da-DK"/>
              <a:t> </a:t>
            </a:r>
            <a:r>
              <a:rPr lang="da-DK" err="1"/>
              <a:t>Your</a:t>
            </a:r>
            <a:r>
              <a:rPr lang="da-DK"/>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9/4/2025</a:t>
            </a:fld>
            <a:endParaRPr lang="en-US"/>
          </a:p>
        </p:txBody>
      </p:sp>
      <p:sp>
        <p:nvSpPr>
          <p:cNvPr id="5" name="Footer Placeholder 4"/>
          <p:cNvSpPr>
            <a:spLocks noGrp="1"/>
          </p:cNvSpPr>
          <p:nvPr>
            <p:ph type="ftr" sz="quarter" idx="11"/>
          </p:nvPr>
        </p:nvSpPr>
        <p:spPr/>
        <p:txBody>
          <a:bodyPr/>
          <a:lstStyle/>
          <a:p>
            <a:r>
              <a:rPr lang="en-US"/>
              <a:t>Your Life Science Compliance Partner</a:t>
            </a:r>
            <a:endParaRPr lang="en-DK"/>
          </a:p>
        </p:txBody>
      </p:sp>
      <p:sp>
        <p:nvSpPr>
          <p:cNvPr id="6" name="Slide Number Placeholder 5"/>
          <p:cNvSpPr>
            <a:spLocks noGrp="1"/>
          </p:cNvSpPr>
          <p:nvPr>
            <p:ph type="sldNum" sz="quarter" idx="12"/>
          </p:nvPr>
        </p:nvSpPr>
        <p:spPr/>
        <p:txBody>
          <a:bodyPr/>
          <a:lstStyle/>
          <a:p>
            <a:fld id="{0A5BD50D-DA29-044A-B1F2-62165FEB0812}" type="slidenum">
              <a:rPr lang="en-DK" smtClean="0"/>
              <a:pPr/>
              <a:t>‹#›</a:t>
            </a:fld>
            <a:endParaRPr lang="en-DK"/>
          </a:p>
        </p:txBody>
      </p:sp>
    </p:spTree>
    <p:extLst>
      <p:ext uri="{BB962C8B-B14F-4D97-AF65-F5344CB8AC3E}">
        <p14:creationId xmlns:p14="http://schemas.microsoft.com/office/powerpoint/2010/main" val="343243391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933" r:id="rId2"/>
    <p:sldLayoutId id="2147483934" r:id="rId3"/>
    <p:sldLayoutId id="2147483935" r:id="rId4"/>
    <p:sldLayoutId id="2147483936" r:id="rId5"/>
    <p:sldLayoutId id="2147483924" r:id="rId6"/>
    <p:sldLayoutId id="2147483887" r:id="rId7"/>
    <p:sldLayoutId id="2147483889" r:id="rId8"/>
    <p:sldLayoutId id="2147483888" r:id="rId9"/>
    <p:sldLayoutId id="2147483923" r:id="rId10"/>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12" r:id="rId8"/>
    <p:sldLayoutId id="2147483919" r:id="rId9"/>
    <p:sldLayoutId id="2147483913" r:id="rId10"/>
    <p:sldLayoutId id="2147483914" r:id="rId11"/>
    <p:sldLayoutId id="2147483915" r:id="rId12"/>
    <p:sldLayoutId id="2147483916" r:id="rId13"/>
    <p:sldLayoutId id="2147483917" r:id="rId14"/>
    <p:sldLayoutId id="2147483925" r:id="rId15"/>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29.xml"/><Relationship Id="rId4" Type="http://schemas.openxmlformats.org/officeDocument/2006/relationships/image" Target="../media/image53.svg"/></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13" Type="http://schemas.microsoft.com/office/2007/relationships/hdphoto" Target="../media/hdphoto4.wdp"/><Relationship Id="rId18" Type="http://schemas.microsoft.com/office/2007/relationships/hdphoto" Target="../media/hdphoto6.wdp"/><Relationship Id="rId3" Type="http://schemas.openxmlformats.org/officeDocument/2006/relationships/notesSlide" Target="../notesSlides/notesSlide7.xml"/><Relationship Id="rId21" Type="http://schemas.openxmlformats.org/officeDocument/2006/relationships/image" Target="../media/image64.png"/><Relationship Id="rId7" Type="http://schemas.openxmlformats.org/officeDocument/2006/relationships/image" Target="../media/image56.svg"/><Relationship Id="rId12" Type="http://schemas.openxmlformats.org/officeDocument/2006/relationships/image" Target="../media/image59.png"/><Relationship Id="rId17" Type="http://schemas.openxmlformats.org/officeDocument/2006/relationships/image" Target="../media/image62.png"/><Relationship Id="rId2" Type="http://schemas.openxmlformats.org/officeDocument/2006/relationships/slideLayout" Target="../slideLayouts/slideLayout13.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tags" Target="../tags/tag2.xml"/><Relationship Id="rId6" Type="http://schemas.openxmlformats.org/officeDocument/2006/relationships/image" Target="../media/image55.png"/><Relationship Id="rId11" Type="http://schemas.microsoft.com/office/2007/relationships/hdphoto" Target="../media/hdphoto3.wdp"/><Relationship Id="rId24" Type="http://schemas.microsoft.com/office/2007/relationships/hdphoto" Target="../media/hdphoto9.wdp"/><Relationship Id="rId5" Type="http://schemas.openxmlformats.org/officeDocument/2006/relationships/image" Target="../media/image54.emf"/><Relationship Id="rId15" Type="http://schemas.openxmlformats.org/officeDocument/2006/relationships/image" Target="../media/image61.png"/><Relationship Id="rId23" Type="http://schemas.openxmlformats.org/officeDocument/2006/relationships/image" Target="../media/image65.png"/><Relationship Id="rId10" Type="http://schemas.openxmlformats.org/officeDocument/2006/relationships/image" Target="../media/image58.png"/><Relationship Id="rId19" Type="http://schemas.openxmlformats.org/officeDocument/2006/relationships/image" Target="../media/image63.png"/><Relationship Id="rId4" Type="http://schemas.openxmlformats.org/officeDocument/2006/relationships/oleObject" Target="../embeddings/oleObject2.bin"/><Relationship Id="rId9" Type="http://schemas.microsoft.com/office/2007/relationships/hdphoto" Target="../media/hdphoto2.wdp"/><Relationship Id="rId14" Type="http://schemas.openxmlformats.org/officeDocument/2006/relationships/image" Target="../media/image60.jpeg"/><Relationship Id="rId22" Type="http://schemas.microsoft.com/office/2007/relationships/hdphoto" Target="../media/hdphoto8.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E058_3713A59F.xml"/><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69.png"/><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 Type="http://schemas.microsoft.com/office/2018/10/relationships/comments" Target="../comments/modernComment_7FFFE097_62D76DBF.xml"/><Relationship Id="rId21" Type="http://schemas.openxmlformats.org/officeDocument/2006/relationships/image" Target="../media/image85.png"/><Relationship Id="rId34" Type="http://schemas.openxmlformats.org/officeDocument/2006/relationships/image" Target="../media/image98.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jpeg"/><Relationship Id="rId2" Type="http://schemas.openxmlformats.org/officeDocument/2006/relationships/slideLayout" Target="../slideLayouts/slideLayout13.xml"/><Relationship Id="rId16" Type="http://schemas.openxmlformats.org/officeDocument/2006/relationships/image" Target="../media/image80.svg"/><Relationship Id="rId20" Type="http://schemas.openxmlformats.org/officeDocument/2006/relationships/image" Target="../media/image84.png"/><Relationship Id="rId29" Type="http://schemas.openxmlformats.org/officeDocument/2006/relationships/image" Target="../media/image93.png"/><Relationship Id="rId1" Type="http://schemas.openxmlformats.org/officeDocument/2006/relationships/tags" Target="../tags/tag3.xml"/><Relationship Id="rId6" Type="http://schemas.openxmlformats.org/officeDocument/2006/relationships/image" Target="../media/image70.jpe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svg"/><Relationship Id="rId5" Type="http://schemas.openxmlformats.org/officeDocument/2006/relationships/image" Target="../media/image13.emf"/><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 Type="http://schemas.openxmlformats.org/officeDocument/2006/relationships/oleObject" Target="../embeddings/oleObject3.bin"/><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8"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11.xml"/><Relationship Id="rId7" Type="http://schemas.openxmlformats.org/officeDocument/2006/relationships/image" Target="../media/image103.png"/><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102.emf"/><Relationship Id="rId5" Type="http://schemas.openxmlformats.org/officeDocument/2006/relationships/oleObject" Target="../embeddings/oleObject4.bin"/><Relationship Id="rId4" Type="http://schemas.openxmlformats.org/officeDocument/2006/relationships/image" Target="../media/image101.png"/><Relationship Id="rId9" Type="http://schemas.openxmlformats.org/officeDocument/2006/relationships/image" Target="../media/image105.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35.svg"/><Relationship Id="rId3" Type="http://schemas.openxmlformats.org/officeDocument/2006/relationships/image" Target="../media/image31.jpeg"/><Relationship Id="rId7" Type="http://schemas.openxmlformats.org/officeDocument/2006/relationships/diagramQuickStyle" Target="../diagrams/quickStyle1.xml"/><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image" Target="../media/image30.jpeg"/><Relationship Id="rId16" Type="http://schemas.openxmlformats.org/officeDocument/2006/relationships/image" Target="../media/image38.png"/><Relationship Id="rId1" Type="http://schemas.openxmlformats.org/officeDocument/2006/relationships/slideLayout" Target="../slideLayouts/slideLayout10.xml"/><Relationship Id="rId6" Type="http://schemas.openxmlformats.org/officeDocument/2006/relationships/diagramLayout" Target="../diagrams/layout1.xml"/><Relationship Id="rId11" Type="http://schemas.openxmlformats.org/officeDocument/2006/relationships/image" Target="../media/image33.svg"/><Relationship Id="rId5" Type="http://schemas.openxmlformats.org/officeDocument/2006/relationships/diagramData" Target="../diagrams/data1.xml"/><Relationship Id="rId15" Type="http://schemas.openxmlformats.org/officeDocument/2006/relationships/image" Target="../media/image37.svg"/><Relationship Id="rId10" Type="http://schemas.openxmlformats.org/officeDocument/2006/relationships/image" Target="../media/image32.png"/><Relationship Id="rId4" Type="http://schemas.openxmlformats.org/officeDocument/2006/relationships/image" Target="../media/image29.png"/><Relationship Id="rId9" Type="http://schemas.microsoft.com/office/2007/relationships/diagramDrawing" Target="../diagrams/drawing1.xml"/><Relationship Id="rId1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9.png"/><Relationship Id="rId5" Type="http://schemas.openxmlformats.org/officeDocument/2006/relationships/image" Target="../media/image44.sv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29.xml"/><Relationship Id="rId4" Type="http://schemas.openxmlformats.org/officeDocument/2006/relationships/image" Target="../media/image5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5DD3E-7D2C-7C6E-B932-C440C7980A1F}"/>
            </a:ext>
          </a:extLst>
        </p:cNvPr>
        <p:cNvGrpSpPr/>
        <p:nvPr/>
      </p:nvGrpSpPr>
      <p:grpSpPr>
        <a:xfrm>
          <a:off x="0" y="0"/>
          <a:ext cx="0" cy="0"/>
          <a:chOff x="0" y="0"/>
          <a:chExt cx="0" cy="0"/>
        </a:xfrm>
      </p:grpSpPr>
      <p:pic>
        <p:nvPicPr>
          <p:cNvPr id="11" name="Picture 10" descr="Medium shot of women wearing white coats&#10;&#10;AI-generated content may be incorrect.">
            <a:extLst>
              <a:ext uri="{FF2B5EF4-FFF2-40B4-BE49-F238E27FC236}">
                <a16:creationId xmlns:a16="http://schemas.microsoft.com/office/drawing/2014/main" id="{726E1E5F-EC57-6D66-2151-8D611CBD9984}"/>
              </a:ext>
            </a:extLst>
          </p:cNvPr>
          <p:cNvPicPr>
            <a:picLocks noChangeAspect="1"/>
          </p:cNvPicPr>
          <p:nvPr/>
        </p:nvPicPr>
        <p:blipFill>
          <a:blip r:embed="rId2"/>
          <a:stretch>
            <a:fillRect/>
          </a:stretch>
        </p:blipFill>
        <p:spPr>
          <a:xfrm>
            <a:off x="0" y="0"/>
            <a:ext cx="12192000" cy="6858000"/>
          </a:xfrm>
          <a:prstGeom prst="rect">
            <a:avLst/>
          </a:prstGeom>
        </p:spPr>
      </p:pic>
      <p:pic>
        <p:nvPicPr>
          <p:cNvPr id="8" name="Picture 7" descr="A black and white logo&#10;&#10;AI-generated content may be incorrect.">
            <a:extLst>
              <a:ext uri="{FF2B5EF4-FFF2-40B4-BE49-F238E27FC236}">
                <a16:creationId xmlns:a16="http://schemas.microsoft.com/office/drawing/2014/main" id="{888B7750-CD0D-F3FA-AC88-CEEE7EB2CA6B}"/>
              </a:ext>
            </a:extLst>
          </p:cNvPr>
          <p:cNvPicPr>
            <a:picLocks noChangeAspect="1"/>
          </p:cNvPicPr>
          <p:nvPr/>
        </p:nvPicPr>
        <p:blipFill>
          <a:blip r:embed="rId3"/>
          <a:stretch>
            <a:fillRect/>
          </a:stretch>
        </p:blipFill>
        <p:spPr>
          <a:xfrm>
            <a:off x="3136420" y="1798377"/>
            <a:ext cx="5919159" cy="3320648"/>
          </a:xfrm>
          <a:prstGeom prst="rect">
            <a:avLst/>
          </a:prstGeom>
          <a:effectLst>
            <a:outerShdw blurRad="508000" algn="ctr" rotWithShape="0">
              <a:srgbClr val="000000">
                <a:alpha val="47000"/>
              </a:srgbClr>
            </a:outerShdw>
          </a:effectLst>
        </p:spPr>
      </p:pic>
      <p:sp>
        <p:nvSpPr>
          <p:cNvPr id="3" name="Title 2">
            <a:extLst>
              <a:ext uri="{FF2B5EF4-FFF2-40B4-BE49-F238E27FC236}">
                <a16:creationId xmlns:a16="http://schemas.microsoft.com/office/drawing/2014/main" id="{4028B652-47A4-639D-B410-A79C7EFA4C50}"/>
              </a:ext>
            </a:extLst>
          </p:cNvPr>
          <p:cNvSpPr>
            <a:spLocks noGrp="1"/>
          </p:cNvSpPr>
          <p:nvPr>
            <p:ph type="title"/>
          </p:nvPr>
        </p:nvSpPr>
        <p:spPr>
          <a:xfrm>
            <a:off x="8510257" y="4852200"/>
            <a:ext cx="3526168" cy="1701000"/>
          </a:xfrm>
        </p:spPr>
        <p:txBody>
          <a:bodyPr/>
          <a:lstStyle/>
          <a:p>
            <a:r>
              <a:rPr lang="en-US">
                <a:solidFill>
                  <a:schemeClr val="tx2"/>
                </a:solidFill>
              </a:rPr>
              <a:t>Your Life Science Compliance </a:t>
            </a:r>
            <a:r>
              <a:rPr lang="en-US"/>
              <a:t>Partner</a:t>
            </a:r>
          </a:p>
        </p:txBody>
      </p:sp>
      <p:sp>
        <p:nvSpPr>
          <p:cNvPr id="6" name="Rectangle 5">
            <a:extLst>
              <a:ext uri="{FF2B5EF4-FFF2-40B4-BE49-F238E27FC236}">
                <a16:creationId xmlns:a16="http://schemas.microsoft.com/office/drawing/2014/main" id="{C5C60766-0C9F-011B-B6A5-9225B9761E22}"/>
              </a:ext>
            </a:extLst>
          </p:cNvPr>
          <p:cNvSpPr/>
          <p:nvPr/>
        </p:nvSpPr>
        <p:spPr>
          <a:xfrm rot="19655765">
            <a:off x="1574658" y="3204594"/>
            <a:ext cx="13339076" cy="58983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and white logo&#10;&#10;AI-generated content may be incorrect.">
            <a:extLst>
              <a:ext uri="{FF2B5EF4-FFF2-40B4-BE49-F238E27FC236}">
                <a16:creationId xmlns:a16="http://schemas.microsoft.com/office/drawing/2014/main" id="{B3DE5C87-3F27-FB01-1915-2CDCFD1D42DA}"/>
              </a:ext>
            </a:extLst>
          </p:cNvPr>
          <p:cNvPicPr>
            <a:picLocks noChangeAspect="1"/>
          </p:cNvPicPr>
          <p:nvPr/>
        </p:nvPicPr>
        <p:blipFill>
          <a:blip r:embed="rId3"/>
          <a:stretch>
            <a:fillRect/>
          </a:stretch>
        </p:blipFill>
        <p:spPr>
          <a:xfrm>
            <a:off x="3136419" y="1798377"/>
            <a:ext cx="5919159" cy="3320648"/>
          </a:xfrm>
          <a:prstGeom prst="rect">
            <a:avLst/>
          </a:prstGeom>
        </p:spPr>
      </p:pic>
    </p:spTree>
    <p:extLst>
      <p:ext uri="{BB962C8B-B14F-4D97-AF65-F5344CB8AC3E}">
        <p14:creationId xmlns:p14="http://schemas.microsoft.com/office/powerpoint/2010/main" val="40159832"/>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p:cNvGrpSpPr/>
        <p:nvPr/>
      </p:nvGrpSpPr>
      <p:grpSpPr>
        <a:xfrm>
          <a:off x="0" y="0"/>
          <a:ext cx="0" cy="0"/>
          <a:chOff x="0" y="0"/>
          <a:chExt cx="0" cy="0"/>
        </a:xfrm>
      </p:grpSpPr>
      <p:pic>
        <p:nvPicPr>
          <p:cNvPr id="6" name="Picture 5" descr="A group of people in lab coats&#10;&#10;AI-generated content may be incorrect.">
            <a:extLst>
              <a:ext uri="{FF2B5EF4-FFF2-40B4-BE49-F238E27FC236}">
                <a16:creationId xmlns:a16="http://schemas.microsoft.com/office/drawing/2014/main" id="{142CED5B-7143-6330-1C93-349FA3D95801}"/>
              </a:ext>
            </a:extLst>
          </p:cNvPr>
          <p:cNvPicPr>
            <a:picLocks noChangeAspect="1"/>
          </p:cNvPicPr>
          <p:nvPr/>
        </p:nvPicPr>
        <p:blipFill>
          <a:blip r:embed="rId2"/>
          <a:stretch>
            <a:fillRect/>
          </a:stretch>
        </p:blipFill>
        <p:spPr>
          <a:xfrm>
            <a:off x="-5384596" y="0"/>
            <a:ext cx="12192000" cy="6858000"/>
          </a:xfrm>
          <a:prstGeom prst="rect">
            <a:avLst/>
          </a:prstGeom>
        </p:spPr>
      </p:pic>
      <p:sp>
        <p:nvSpPr>
          <p:cNvPr id="3" name="TextBox 2">
            <a:extLst>
              <a:ext uri="{FF2B5EF4-FFF2-40B4-BE49-F238E27FC236}">
                <a16:creationId xmlns:a16="http://schemas.microsoft.com/office/drawing/2014/main" id="{D1BB7F40-BA25-E3E0-7D76-02163F685ED1}"/>
              </a:ext>
            </a:extLst>
          </p:cNvPr>
          <p:cNvSpPr txBox="1"/>
          <p:nvPr/>
        </p:nvSpPr>
        <p:spPr>
          <a:xfrm>
            <a:off x="5998865" y="1330477"/>
            <a:ext cx="5787851" cy="4928465"/>
          </a:xfrm>
          <a:prstGeom prst="rect">
            <a:avLst/>
          </a:prstGeom>
          <a:noFill/>
        </p:spPr>
        <p:txBody>
          <a:bodyPr wrap="square">
            <a:spAutoFit/>
          </a:bodyPr>
          <a:lstStyle/>
          <a:p>
            <a:pPr marL="457200" algn="ctr">
              <a:lnSpc>
                <a:spcPct val="116000"/>
              </a:lnSpc>
              <a:spcAft>
                <a:spcPts val="800"/>
              </a:spcAft>
              <a:buNone/>
            </a:pPr>
            <a:r>
              <a:rPr lang="en-US" sz="2400" b="1">
                <a:solidFill>
                  <a:schemeClr val="bg1"/>
                </a:solidFill>
                <a:effectLst/>
                <a:latin typeface="+mn-lt"/>
                <a:ea typeface="Calibri" panose="020F0502020204030204" pitchFamily="34" charset="0"/>
                <a:cs typeface="Arial" panose="020B0604020202020204" pitchFamily="34" charset="0"/>
              </a:rPr>
              <a:t>Certifications, Accreditations, </a:t>
            </a:r>
            <a:br>
              <a:rPr lang="en-US" sz="2400" b="1">
                <a:solidFill>
                  <a:schemeClr val="bg1"/>
                </a:solidFill>
                <a:effectLst/>
                <a:latin typeface="+mn-lt"/>
                <a:ea typeface="Calibri" panose="020F0502020204030204" pitchFamily="34" charset="0"/>
                <a:cs typeface="Arial" panose="020B0604020202020204" pitchFamily="34" charset="0"/>
              </a:rPr>
            </a:br>
            <a:r>
              <a:rPr lang="en-US" sz="2400" b="1">
                <a:solidFill>
                  <a:schemeClr val="bg1"/>
                </a:solidFill>
                <a:effectLst/>
                <a:latin typeface="+mn-lt"/>
                <a:ea typeface="Calibri" panose="020F0502020204030204" pitchFamily="34" charset="0"/>
                <a:cs typeface="Arial" panose="020B0604020202020204" pitchFamily="34" charset="0"/>
              </a:rPr>
              <a:t>and Compliance</a:t>
            </a:r>
            <a:endParaRPr lang="da-DK" sz="2400">
              <a:solidFill>
                <a:schemeClr val="bg1"/>
              </a:solidFill>
              <a:effectLst/>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br>
              <a:rPr lang="da-DK">
                <a:latin typeface="+mn-lt"/>
                <a:ea typeface="MS Mincho" panose="02020609040205080304" pitchFamily="49" charset="-128"/>
                <a:cs typeface="Arial" panose="020B0604020202020204" pitchFamily="34" charset="0"/>
              </a:rPr>
            </a:br>
            <a:br>
              <a:rPr lang="da-DK">
                <a:latin typeface="+mn-lt"/>
                <a:ea typeface="MS Mincho" panose="02020609040205080304" pitchFamily="49" charset="-128"/>
                <a:cs typeface="Arial" panose="020B0604020202020204" pitchFamily="34" charset="0"/>
              </a:rPr>
            </a:br>
            <a:r>
              <a:rPr lang="en-US" sz="1600">
                <a:solidFill>
                  <a:schemeClr val="tx2"/>
                </a:solidFill>
                <a:effectLst/>
                <a:latin typeface="+mn-lt"/>
                <a:ea typeface="Calibri" panose="020F0502020204030204" pitchFamily="34" charset="0"/>
                <a:cs typeface="Arial" panose="020B0604020202020204" pitchFamily="34" charset="0"/>
              </a:rPr>
              <a:t>Software and services aligned with </a:t>
            </a:r>
            <a:r>
              <a:rPr lang="en-US" sz="1600" b="1">
                <a:solidFill>
                  <a:schemeClr val="tx2"/>
                </a:solidFill>
                <a:effectLst/>
                <a:latin typeface="+mn-lt"/>
                <a:ea typeface="Calibri" panose="020F0502020204030204" pitchFamily="34" charset="0"/>
                <a:cs typeface="Arial" panose="020B0604020202020204" pitchFamily="34" charset="0"/>
              </a:rPr>
              <a:t>GAMP 5</a:t>
            </a:r>
            <a:r>
              <a:rPr lang="en-US" sz="1600">
                <a:solidFill>
                  <a:schemeClr val="tx2"/>
                </a:solidFill>
                <a:effectLst/>
                <a:latin typeface="+mn-lt"/>
                <a:ea typeface="Calibri" panose="020F0502020204030204" pitchFamily="34" charset="0"/>
                <a:cs typeface="Arial" panose="020B0604020202020204" pitchFamily="34" charset="0"/>
              </a:rPr>
              <a:t> and </a:t>
            </a:r>
            <a:r>
              <a:rPr lang="en-US" sz="1600" b="1">
                <a:solidFill>
                  <a:schemeClr val="tx2"/>
                </a:solidFill>
                <a:effectLst/>
                <a:latin typeface="+mn-lt"/>
                <a:ea typeface="Calibri" panose="020F0502020204030204" pitchFamily="34" charset="0"/>
                <a:cs typeface="Arial" panose="020B0604020202020204" pitchFamily="34" charset="0"/>
              </a:rPr>
              <a:t>FDA 21 CFR Part 11</a:t>
            </a:r>
            <a:endParaRPr lang="da-DK" sz="1600" b="1">
              <a:solidFill>
                <a:schemeClr val="tx2"/>
              </a:solidFill>
              <a:effectLst/>
              <a:latin typeface="+mn-lt"/>
              <a:ea typeface="MS Mincho" panose="02020609040205080304" pitchFamily="49" charset="-128"/>
              <a:cs typeface="Arial" panose="020B0604020202020204" pitchFamily="34" charset="0"/>
            </a:endParaRPr>
          </a:p>
          <a:p>
            <a:pPr>
              <a:spcAft>
                <a:spcPts val="800"/>
              </a:spcAft>
            </a:pPr>
            <a:r>
              <a:rPr lang="en-US" sz="2400">
                <a:effectLst/>
                <a:latin typeface="+mn-lt"/>
                <a:ea typeface="MS Mincho" panose="02020609040205080304" pitchFamily="49" charset="-128"/>
                <a:cs typeface="Arial" panose="020B0604020202020204" pitchFamily="34" charset="0"/>
              </a:rPr>
              <a:t> </a:t>
            </a:r>
            <a:endParaRPr lang="da-DK" sz="2400">
              <a:effectLst/>
              <a:latin typeface="+mn-lt"/>
              <a:ea typeface="MS Mincho" panose="02020609040205080304" pitchFamily="49" charset="-128"/>
              <a:cs typeface="Arial" panose="020B0604020202020204" pitchFamily="34" charset="0"/>
            </a:endParaRPr>
          </a:p>
        </p:txBody>
      </p:sp>
      <p:sp>
        <p:nvSpPr>
          <p:cNvPr id="5" name="Text Placeholder 6">
            <a:extLst>
              <a:ext uri="{FF2B5EF4-FFF2-40B4-BE49-F238E27FC236}">
                <a16:creationId xmlns:a16="http://schemas.microsoft.com/office/drawing/2014/main" id="{C5DA664D-5519-A0B8-DBE4-E35C93C63929}"/>
              </a:ext>
            </a:extLst>
          </p:cNvPr>
          <p:cNvSpPr>
            <a:spLocks noGrp="1"/>
          </p:cNvSpPr>
          <p:nvPr>
            <p:ph type="body" sz="half" idx="10"/>
          </p:nvPr>
        </p:nvSpPr>
        <p:spPr>
          <a:xfrm>
            <a:off x="-6246590" y="1583117"/>
            <a:ext cx="5724525" cy="205184"/>
          </a:xfrm>
        </p:spPr>
        <p:txBody>
          <a:bodyPr/>
          <a:lstStyle/>
          <a:p>
            <a:pPr marL="0" indent="0">
              <a:buNone/>
            </a:pPr>
            <a:r>
              <a:rPr lang="en-US" sz="1600" b="1"/>
              <a:t>Who are we?</a:t>
            </a:r>
          </a:p>
        </p:txBody>
      </p:sp>
      <p:sp>
        <p:nvSpPr>
          <p:cNvPr id="7" name="Title 3">
            <a:extLst>
              <a:ext uri="{FF2B5EF4-FFF2-40B4-BE49-F238E27FC236}">
                <a16:creationId xmlns:a16="http://schemas.microsoft.com/office/drawing/2014/main" id="{3199B9EE-A013-891C-CF3F-D8D2730120D8}"/>
              </a:ext>
            </a:extLst>
          </p:cNvPr>
          <p:cNvSpPr txBox="1">
            <a:spLocks/>
          </p:cNvSpPr>
          <p:nvPr/>
        </p:nvSpPr>
        <p:spPr bwMode="auto">
          <a:xfrm>
            <a:off x="-6245615" y="839935"/>
            <a:ext cx="6464040" cy="55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4300"/>
              </a:lnSpc>
              <a:spcBef>
                <a:spcPct val="0"/>
              </a:spcBef>
              <a:spcAft>
                <a:spcPct val="0"/>
              </a:spcAft>
              <a:defRPr sz="4200" b="1" kern="1200">
                <a:solidFill>
                  <a:schemeClr val="bg1"/>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sz="3600" noProof="0">
                <a:solidFill>
                  <a:schemeClr val="tx2"/>
                </a:solidFill>
              </a:rPr>
              <a:t>Ellab at a </a:t>
            </a:r>
            <a:r>
              <a:rPr lang="en-US" sz="3600" noProof="0">
                <a:solidFill>
                  <a:schemeClr val="bg2"/>
                </a:solidFill>
              </a:rPr>
              <a:t>Glance</a:t>
            </a:r>
          </a:p>
        </p:txBody>
      </p:sp>
      <p:pic>
        <p:nvPicPr>
          <p:cNvPr id="20" name="Graphic 19" descr="Ribbon with solid fill">
            <a:extLst>
              <a:ext uri="{FF2B5EF4-FFF2-40B4-BE49-F238E27FC236}">
                <a16:creationId xmlns:a16="http://schemas.microsoft.com/office/drawing/2014/main" id="{B850E466-9EBF-4815-348A-BBBBAC961E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35590" y="382735"/>
            <a:ext cx="914400" cy="914400"/>
          </a:xfrm>
          <a:prstGeom prst="rect">
            <a:avLst/>
          </a:prstGeom>
        </p:spPr>
      </p:pic>
      <p:sp>
        <p:nvSpPr>
          <p:cNvPr id="21" name="Rectangle: Rounded Corners 20">
            <a:extLst>
              <a:ext uri="{FF2B5EF4-FFF2-40B4-BE49-F238E27FC236}">
                <a16:creationId xmlns:a16="http://schemas.microsoft.com/office/drawing/2014/main" id="{BFFFC9DA-72A4-1CFC-C1C6-978474A12606}"/>
              </a:ext>
            </a:extLst>
          </p:cNvPr>
          <p:cNvSpPr/>
          <p:nvPr/>
        </p:nvSpPr>
        <p:spPr>
          <a:xfrm>
            <a:off x="6807404" y="2627612"/>
            <a:ext cx="1765952" cy="511073"/>
          </a:xfrm>
          <a:prstGeom prst="roundRect">
            <a:avLst>
              <a:gd name="adj" fmla="val 0"/>
            </a:avLst>
          </a:prstGeom>
          <a:gradFill>
            <a:gsLst>
              <a:gs pos="0">
                <a:schemeClr val="accent1">
                  <a:lumMod val="5000"/>
                  <a:lumOff val="95000"/>
                  <a:alpha val="0"/>
                </a:schemeClr>
              </a:gs>
              <a:gs pos="97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9001</a:t>
            </a:r>
          </a:p>
        </p:txBody>
      </p:sp>
      <p:sp>
        <p:nvSpPr>
          <p:cNvPr id="22" name="Rectangle: Rounded Corners 21">
            <a:extLst>
              <a:ext uri="{FF2B5EF4-FFF2-40B4-BE49-F238E27FC236}">
                <a16:creationId xmlns:a16="http://schemas.microsoft.com/office/drawing/2014/main" id="{F3B3E7BF-E9F2-5DB6-3BC2-5F1BA1D1F1FA}"/>
              </a:ext>
            </a:extLst>
          </p:cNvPr>
          <p:cNvSpPr/>
          <p:nvPr/>
        </p:nvSpPr>
        <p:spPr>
          <a:xfrm>
            <a:off x="8686800" y="2637103"/>
            <a:ext cx="2474006"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7025</a:t>
            </a:r>
          </a:p>
        </p:txBody>
      </p:sp>
      <p:sp>
        <p:nvSpPr>
          <p:cNvPr id="23" name="Rectangle: Rounded Corners 22">
            <a:extLst>
              <a:ext uri="{FF2B5EF4-FFF2-40B4-BE49-F238E27FC236}">
                <a16:creationId xmlns:a16="http://schemas.microsoft.com/office/drawing/2014/main" id="{535603D5-321B-7A9F-4F01-4F05C0A42B12}"/>
              </a:ext>
            </a:extLst>
          </p:cNvPr>
          <p:cNvSpPr/>
          <p:nvPr/>
        </p:nvSpPr>
        <p:spPr>
          <a:xfrm>
            <a:off x="6807404" y="3250236"/>
            <a:ext cx="1506721"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4001</a:t>
            </a:r>
          </a:p>
        </p:txBody>
      </p:sp>
      <p:sp>
        <p:nvSpPr>
          <p:cNvPr id="24" name="Rectangle: Rounded Corners 23">
            <a:extLst>
              <a:ext uri="{FF2B5EF4-FFF2-40B4-BE49-F238E27FC236}">
                <a16:creationId xmlns:a16="http://schemas.microsoft.com/office/drawing/2014/main" id="{F9C3A891-BC90-9E1E-B22C-6A36D57CAB34}"/>
              </a:ext>
            </a:extLst>
          </p:cNvPr>
          <p:cNvSpPr/>
          <p:nvPr/>
        </p:nvSpPr>
        <p:spPr>
          <a:xfrm>
            <a:off x="9588089" y="3250237"/>
            <a:ext cx="1572717" cy="511073"/>
          </a:xfrm>
          <a:prstGeom prst="roundRect">
            <a:avLst>
              <a:gd name="adj" fmla="val 0"/>
            </a:avLst>
          </a:prstGeom>
          <a:gradFill>
            <a:gsLst>
              <a:gs pos="91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DANAK</a:t>
            </a:r>
          </a:p>
        </p:txBody>
      </p:sp>
      <p:sp>
        <p:nvSpPr>
          <p:cNvPr id="25" name="Rectangle: Rounded Corners 24">
            <a:extLst>
              <a:ext uri="{FF2B5EF4-FFF2-40B4-BE49-F238E27FC236}">
                <a16:creationId xmlns:a16="http://schemas.microsoft.com/office/drawing/2014/main" id="{5CC79E63-B12A-A9B5-2A76-145F457E2022}"/>
              </a:ext>
            </a:extLst>
          </p:cNvPr>
          <p:cNvSpPr/>
          <p:nvPr/>
        </p:nvSpPr>
        <p:spPr>
          <a:xfrm>
            <a:off x="8426621" y="3250235"/>
            <a:ext cx="1048972"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UKAS</a:t>
            </a:r>
          </a:p>
        </p:txBody>
      </p:sp>
      <p:sp>
        <p:nvSpPr>
          <p:cNvPr id="26" name="Rectangle: Rounded Corners 25">
            <a:extLst>
              <a:ext uri="{FF2B5EF4-FFF2-40B4-BE49-F238E27FC236}">
                <a16:creationId xmlns:a16="http://schemas.microsoft.com/office/drawing/2014/main" id="{1406868A-3B02-B5A4-A1C7-A40C9B18E0B0}"/>
              </a:ext>
            </a:extLst>
          </p:cNvPr>
          <p:cNvSpPr/>
          <p:nvPr/>
        </p:nvSpPr>
        <p:spPr>
          <a:xfrm>
            <a:off x="6807404" y="3872859"/>
            <a:ext cx="2233959"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A2LA</a:t>
            </a:r>
          </a:p>
        </p:txBody>
      </p:sp>
      <p:sp>
        <p:nvSpPr>
          <p:cNvPr id="27" name="Rectangle: Rounded Corners 26">
            <a:extLst>
              <a:ext uri="{FF2B5EF4-FFF2-40B4-BE49-F238E27FC236}">
                <a16:creationId xmlns:a16="http://schemas.microsoft.com/office/drawing/2014/main" id="{27C713AE-9281-FA1F-FB3D-A36D2DE37B0D}"/>
              </a:ext>
            </a:extLst>
          </p:cNvPr>
          <p:cNvSpPr/>
          <p:nvPr/>
        </p:nvSpPr>
        <p:spPr>
          <a:xfrm>
            <a:off x="9162661" y="3863369"/>
            <a:ext cx="1998145"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coVadis</a:t>
            </a:r>
          </a:p>
        </p:txBody>
      </p:sp>
      <p:sp>
        <p:nvSpPr>
          <p:cNvPr id="32" name="Content Placeholder 7">
            <a:extLst>
              <a:ext uri="{FF2B5EF4-FFF2-40B4-BE49-F238E27FC236}">
                <a16:creationId xmlns:a16="http://schemas.microsoft.com/office/drawing/2014/main" id="{D18AE060-5E44-05A5-7F53-9BC5DE9040BC}"/>
              </a:ext>
            </a:extLst>
          </p:cNvPr>
          <p:cNvSpPr txBox="1">
            <a:spLocks/>
          </p:cNvSpPr>
          <p:nvPr/>
        </p:nvSpPr>
        <p:spPr bwMode="auto">
          <a:xfrm>
            <a:off x="-6322606" y="2249674"/>
            <a:ext cx="2840271" cy="84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75 years </a:t>
            </a:r>
          </a:p>
          <a:p>
            <a:pPr>
              <a:buClr>
                <a:schemeClr val="bg1"/>
              </a:buClr>
            </a:pPr>
            <a:r>
              <a:rPr lang="en-US" sz="1600" b="0"/>
              <a:t>of innovating compliance solutions for the life science sector.</a:t>
            </a:r>
            <a:endParaRPr lang="en-US" sz="1600"/>
          </a:p>
        </p:txBody>
      </p:sp>
      <p:sp>
        <p:nvSpPr>
          <p:cNvPr id="33" name="Content Placeholder 7">
            <a:extLst>
              <a:ext uri="{FF2B5EF4-FFF2-40B4-BE49-F238E27FC236}">
                <a16:creationId xmlns:a16="http://schemas.microsoft.com/office/drawing/2014/main" id="{0A1113FE-1457-D30D-A38E-25FF1949D772}"/>
              </a:ext>
            </a:extLst>
          </p:cNvPr>
          <p:cNvSpPr txBox="1">
            <a:spLocks/>
          </p:cNvSpPr>
          <p:nvPr/>
        </p:nvSpPr>
        <p:spPr bwMode="auto">
          <a:xfrm>
            <a:off x="-2963586" y="2159579"/>
            <a:ext cx="2373348" cy="888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75/100</a:t>
            </a:r>
            <a:endParaRPr lang="en-US" sz="1800" b="0">
              <a:solidFill>
                <a:schemeClr val="bg1"/>
              </a:solidFill>
            </a:endParaRPr>
          </a:p>
          <a:p>
            <a:pPr>
              <a:buClr>
                <a:schemeClr val="bg1"/>
              </a:buClr>
            </a:pPr>
            <a:r>
              <a:rPr lang="en-US" sz="1600" b="0"/>
              <a:t>of the top life science companies across the world use Ellab today.</a:t>
            </a:r>
            <a:br>
              <a:rPr lang="en-US" sz="1600" b="0"/>
            </a:br>
            <a:endParaRPr lang="en-US" sz="1600"/>
          </a:p>
        </p:txBody>
      </p:sp>
      <p:sp>
        <p:nvSpPr>
          <p:cNvPr id="34" name="Content Placeholder 7">
            <a:extLst>
              <a:ext uri="{FF2B5EF4-FFF2-40B4-BE49-F238E27FC236}">
                <a16:creationId xmlns:a16="http://schemas.microsoft.com/office/drawing/2014/main" id="{E7931BBA-8921-00AC-90B9-4B2215166ED9}"/>
              </a:ext>
            </a:extLst>
          </p:cNvPr>
          <p:cNvSpPr txBox="1">
            <a:spLocks/>
          </p:cNvSpPr>
          <p:nvPr/>
        </p:nvSpPr>
        <p:spPr bwMode="auto">
          <a:xfrm>
            <a:off x="-2918917" y="4035761"/>
            <a:ext cx="2636982" cy="84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20 offices</a:t>
            </a:r>
            <a:r>
              <a:rPr lang="en-US" sz="3600" b="0"/>
              <a:t> </a:t>
            </a:r>
          </a:p>
          <a:p>
            <a:pPr>
              <a:buClr>
                <a:schemeClr val="bg1"/>
              </a:buClr>
            </a:pPr>
            <a:r>
              <a:rPr lang="en-US" sz="1600" b="0"/>
              <a:t>across North America, Europe, and Asia, with HQ in Denmark.</a:t>
            </a:r>
          </a:p>
        </p:txBody>
      </p:sp>
      <p:sp>
        <p:nvSpPr>
          <p:cNvPr id="35" name="Content Placeholder 7">
            <a:extLst>
              <a:ext uri="{FF2B5EF4-FFF2-40B4-BE49-F238E27FC236}">
                <a16:creationId xmlns:a16="http://schemas.microsoft.com/office/drawing/2014/main" id="{F27453CA-685E-FE52-31C8-20A13C7257B6}"/>
              </a:ext>
            </a:extLst>
          </p:cNvPr>
          <p:cNvSpPr txBox="1">
            <a:spLocks/>
          </p:cNvSpPr>
          <p:nvPr/>
        </p:nvSpPr>
        <p:spPr bwMode="auto">
          <a:xfrm>
            <a:off x="-6322606" y="3893017"/>
            <a:ext cx="3403689" cy="1127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US" sz="3600">
                <a:solidFill>
                  <a:schemeClr val="bg1"/>
                </a:solidFill>
              </a:rPr>
              <a:t>~800 employees</a:t>
            </a:r>
            <a:endParaRPr lang="en-US" sz="3600" b="0">
              <a:solidFill>
                <a:schemeClr val="bg1"/>
              </a:solidFill>
            </a:endParaRPr>
          </a:p>
          <a:p>
            <a:pPr>
              <a:buClr>
                <a:schemeClr val="bg1"/>
              </a:buClr>
            </a:pPr>
            <a:r>
              <a:rPr lang="en-US" sz="1600" b="0"/>
              <a:t>across the globe, half of which perform on-site calibration, mapping, and CQV support.</a:t>
            </a:r>
          </a:p>
          <a:p>
            <a:endParaRPr lang="en-US" sz="1800"/>
          </a:p>
        </p:txBody>
      </p:sp>
    </p:spTree>
    <p:extLst>
      <p:ext uri="{BB962C8B-B14F-4D97-AF65-F5344CB8AC3E}">
        <p14:creationId xmlns:p14="http://schemas.microsoft.com/office/powerpoint/2010/main" val="22860906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Word"/>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770F1E-2DC0-4D7E-B956-67CE840A7773}"/>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0770F1E-2DC0-4D7E-B956-67CE840A7773}"/>
                          </a:ext>
                        </a:extLst>
                      </p:cNvPr>
                      <p:cNvPicPr/>
                      <p:nvPr/>
                    </p:nvPicPr>
                    <p:blipFill>
                      <a:blip r:embed="rId5"/>
                      <a:stretch>
                        <a:fillRect/>
                      </a:stretch>
                    </p:blipFill>
                    <p:spPr>
                      <a:xfrm>
                        <a:off x="611505" y="1905"/>
                        <a:ext cx="1906" cy="190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CDA3A8-0A4C-CA41-B699-6FBB904E69A3}"/>
              </a:ext>
            </a:extLst>
          </p:cNvPr>
          <p:cNvSpPr>
            <a:spLocks noGrp="1"/>
          </p:cNvSpPr>
          <p:nvPr>
            <p:ph type="title"/>
          </p:nvPr>
        </p:nvSpPr>
        <p:spPr/>
        <p:txBody>
          <a:bodyPr vert="horz"/>
          <a:lstStyle/>
          <a:p>
            <a:r>
              <a:rPr lang="en-GB" dirty="0">
                <a:solidFill>
                  <a:schemeClr val="bg1"/>
                </a:solidFill>
              </a:rPr>
              <a:t>What’s Our </a:t>
            </a:r>
            <a:r>
              <a:rPr lang="en-GB" dirty="0">
                <a:solidFill>
                  <a:schemeClr val="accent1"/>
                </a:solidFill>
              </a:rPr>
              <a:t>Presence?</a:t>
            </a:r>
            <a:endParaRPr lang="en-US" dirty="0">
              <a:solidFill>
                <a:schemeClr val="accent1"/>
              </a:solidFill>
            </a:endParaRPr>
          </a:p>
        </p:txBody>
      </p:sp>
      <p:sp>
        <p:nvSpPr>
          <p:cNvPr id="146" name="Text Placeholder 2">
            <a:extLst>
              <a:ext uri="{FF2B5EF4-FFF2-40B4-BE49-F238E27FC236}">
                <a16:creationId xmlns:a16="http://schemas.microsoft.com/office/drawing/2014/main" id="{AB2FC909-FE19-469F-8D98-76B0F79A2C7A}"/>
              </a:ext>
            </a:extLst>
          </p:cNvPr>
          <p:cNvSpPr txBox="1">
            <a:spLocks/>
          </p:cNvSpPr>
          <p:nvPr/>
        </p:nvSpPr>
        <p:spPr>
          <a:xfrm>
            <a:off x="545061" y="3164961"/>
            <a:ext cx="3840545" cy="493775"/>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bg2">
                    <a:lumMod val="10000"/>
                  </a:schemeClr>
                </a:solidFill>
                <a:latin typeface="+mj-lt"/>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822960">
              <a:spcBef>
                <a:spcPts val="900"/>
              </a:spcBef>
              <a:defRPr/>
            </a:pPr>
            <a:endParaRPr lang="en-GB" sz="1400">
              <a:solidFill>
                <a:srgbClr val="F5F5F5">
                  <a:lumMod val="10000"/>
                </a:srgbClr>
              </a:solidFill>
              <a:latin typeface="Ellab Sans Medium" panose="02000503000000020004" pitchFamily="2" charset="0"/>
            </a:endParaRPr>
          </a:p>
        </p:txBody>
      </p:sp>
      <p:sp>
        <p:nvSpPr>
          <p:cNvPr id="147" name="Text Placeholder 3">
            <a:extLst>
              <a:ext uri="{FF2B5EF4-FFF2-40B4-BE49-F238E27FC236}">
                <a16:creationId xmlns:a16="http://schemas.microsoft.com/office/drawing/2014/main" id="{384E8FE1-ED7B-4935-8C3A-89AA700BA7F0}"/>
              </a:ext>
            </a:extLst>
          </p:cNvPr>
          <p:cNvSpPr txBox="1">
            <a:spLocks/>
          </p:cNvSpPr>
          <p:nvPr/>
        </p:nvSpPr>
        <p:spPr>
          <a:xfrm>
            <a:off x="360000" y="2193797"/>
            <a:ext cx="3276879" cy="3213960"/>
          </a:xfrm>
          <a:prstGeom prst="rect">
            <a:avLst/>
          </a:prstGeom>
        </p:spPr>
        <p:txBody>
          <a:bodyPr lIns="109728" tIns="54864" rIns="109728" bIns="54864" anchor="t"/>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 lvl="1" indent="0">
              <a:lnSpc>
                <a:spcPct val="100000"/>
              </a:lnSpc>
              <a:buClr>
                <a:schemeClr val="accent1"/>
              </a:buClr>
              <a:buSzPct val="100000"/>
              <a:buNone/>
              <a:defRPr/>
            </a:pPr>
            <a:r>
              <a:rPr lang="en-US" altLang="en-US" sz="2400">
                <a:solidFill>
                  <a:schemeClr val="bg1"/>
                </a:solidFill>
                <a:latin typeface="+mj-lt"/>
                <a:ea typeface="Verdana"/>
                <a:cs typeface="Times New Roman"/>
              </a:rPr>
              <a:t>Global expertise with local reach in </a:t>
            </a:r>
            <a:r>
              <a:rPr lang="en-US" altLang="en-US" sz="3200" b="1">
                <a:solidFill>
                  <a:schemeClr val="accent1"/>
                </a:solidFill>
                <a:latin typeface="+mj-lt"/>
                <a:ea typeface="Verdana"/>
                <a:cs typeface="Times New Roman"/>
              </a:rPr>
              <a:t>+70 </a:t>
            </a:r>
            <a:r>
              <a:rPr lang="en-US" altLang="en-US" sz="3200" b="1">
                <a:solidFill>
                  <a:schemeClr val="bg1"/>
                </a:solidFill>
                <a:latin typeface="+mj-lt"/>
                <a:ea typeface="Verdana"/>
                <a:cs typeface="Times New Roman"/>
              </a:rPr>
              <a:t>countries</a:t>
            </a:r>
            <a:endParaRPr lang="en-US" altLang="en-US" sz="2400" b="1">
              <a:solidFill>
                <a:schemeClr val="bg1"/>
              </a:solidFill>
              <a:latin typeface="+mj-lt"/>
              <a:ea typeface="Verdana"/>
              <a:cs typeface="Times New Roman"/>
            </a:endParaRPr>
          </a:p>
        </p:txBody>
      </p:sp>
      <p:grpSp>
        <p:nvGrpSpPr>
          <p:cNvPr id="151" name="Graphic 73">
            <a:extLst>
              <a:ext uri="{FF2B5EF4-FFF2-40B4-BE49-F238E27FC236}">
                <a16:creationId xmlns:a16="http://schemas.microsoft.com/office/drawing/2014/main" id="{2912B19D-0795-40F6-B37F-7DE3F4C79FCC}"/>
              </a:ext>
            </a:extLst>
          </p:cNvPr>
          <p:cNvGrpSpPr/>
          <p:nvPr/>
        </p:nvGrpSpPr>
        <p:grpSpPr>
          <a:xfrm>
            <a:off x="545018" y="4736967"/>
            <a:ext cx="662386" cy="709851"/>
            <a:chOff x="6443505" y="716282"/>
            <a:chExt cx="303284" cy="325016"/>
          </a:xfrm>
        </p:grpSpPr>
        <p:sp>
          <p:nvSpPr>
            <p:cNvPr id="152" name="Freeform 76">
              <a:extLst>
                <a:ext uri="{FF2B5EF4-FFF2-40B4-BE49-F238E27FC236}">
                  <a16:creationId xmlns:a16="http://schemas.microsoft.com/office/drawing/2014/main" id="{CC73DB4A-CF1F-4E27-BB16-70C636A5B3A5}"/>
                </a:ext>
              </a:extLst>
            </p:cNvPr>
            <p:cNvSpPr/>
            <p:nvPr/>
          </p:nvSpPr>
          <p:spPr>
            <a:xfrm>
              <a:off x="6454742" y="732472"/>
              <a:ext cx="292047" cy="308826"/>
            </a:xfrm>
            <a:custGeom>
              <a:avLst/>
              <a:gdLst>
                <a:gd name="connsiteX0" fmla="*/ 0 w 292047"/>
                <a:gd name="connsiteY0" fmla="*/ 0 h 308826"/>
                <a:gd name="connsiteX1" fmla="*/ 292048 w 292047"/>
                <a:gd name="connsiteY1" fmla="*/ 0 h 308826"/>
                <a:gd name="connsiteX2" fmla="*/ 292048 w 292047"/>
                <a:gd name="connsiteY2" fmla="*/ 308827 h 308826"/>
                <a:gd name="connsiteX3" fmla="*/ 0 w 292047"/>
                <a:gd name="connsiteY3" fmla="*/ 308827 h 308826"/>
              </a:gdLst>
              <a:ahLst/>
              <a:cxnLst>
                <a:cxn ang="0">
                  <a:pos x="connsiteX0" y="connsiteY0"/>
                </a:cxn>
                <a:cxn ang="0">
                  <a:pos x="connsiteX1" y="connsiteY1"/>
                </a:cxn>
                <a:cxn ang="0">
                  <a:pos x="connsiteX2" y="connsiteY2"/>
                </a:cxn>
                <a:cxn ang="0">
                  <a:pos x="connsiteX3" y="connsiteY3"/>
                </a:cxn>
              </a:cxnLst>
              <a:rect l="l" t="t" r="r" b="b"/>
              <a:pathLst>
                <a:path w="292047" h="308826">
                  <a:moveTo>
                    <a:pt x="0" y="0"/>
                  </a:moveTo>
                  <a:lnTo>
                    <a:pt x="292048" y="0"/>
                  </a:lnTo>
                  <a:lnTo>
                    <a:pt x="292048" y="308827"/>
                  </a:lnTo>
                  <a:lnTo>
                    <a:pt x="0" y="308827"/>
                  </a:lnTo>
                  <a:close/>
                </a:path>
              </a:pathLst>
            </a:custGeom>
            <a:no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3" name="Freeform 79">
              <a:extLst>
                <a:ext uri="{FF2B5EF4-FFF2-40B4-BE49-F238E27FC236}">
                  <a16:creationId xmlns:a16="http://schemas.microsoft.com/office/drawing/2014/main" id="{7A34F5A9-B9D6-45FC-841B-696E278D224A}"/>
                </a:ext>
              </a:extLst>
            </p:cNvPr>
            <p:cNvSpPr/>
            <p:nvPr/>
          </p:nvSpPr>
          <p:spPr>
            <a:xfrm>
              <a:off x="6455527" y="806344"/>
              <a:ext cx="266342" cy="234464"/>
            </a:xfrm>
            <a:custGeom>
              <a:avLst/>
              <a:gdLst>
                <a:gd name="connsiteX0" fmla="*/ 253290 w 266342"/>
                <a:gd name="connsiteY0" fmla="*/ 39527 h 234464"/>
                <a:gd name="connsiteX1" fmla="*/ 246672 w 266342"/>
                <a:gd name="connsiteY1" fmla="*/ 42776 h 234464"/>
                <a:gd name="connsiteX2" fmla="*/ 258926 w 266342"/>
                <a:gd name="connsiteY2" fmla="*/ 98271 h 234464"/>
                <a:gd name="connsiteX3" fmla="*/ 258926 w 266342"/>
                <a:gd name="connsiteY3" fmla="*/ 99548 h 234464"/>
                <a:gd name="connsiteX4" fmla="*/ 253575 w 266342"/>
                <a:gd name="connsiteY4" fmla="*/ 100114 h 234464"/>
                <a:gd name="connsiteX5" fmla="*/ 252790 w 266342"/>
                <a:gd name="connsiteY5" fmla="*/ 100114 h 234464"/>
                <a:gd name="connsiteX6" fmla="*/ 250311 w 266342"/>
                <a:gd name="connsiteY6" fmla="*/ 100223 h 234464"/>
                <a:gd name="connsiteX7" fmla="*/ 236595 w 266342"/>
                <a:gd name="connsiteY7" fmla="*/ 109859 h 234464"/>
                <a:gd name="connsiteX8" fmla="*/ 235971 w 266342"/>
                <a:gd name="connsiteY8" fmla="*/ 111319 h 234464"/>
                <a:gd name="connsiteX9" fmla="*/ 222183 w 266342"/>
                <a:gd name="connsiteY9" fmla="*/ 120443 h 234464"/>
                <a:gd name="connsiteX10" fmla="*/ 211642 w 266342"/>
                <a:gd name="connsiteY10" fmla="*/ 120443 h 234464"/>
                <a:gd name="connsiteX11" fmla="*/ 205275 w 266342"/>
                <a:gd name="connsiteY11" fmla="*/ 114549 h 234464"/>
                <a:gd name="connsiteX12" fmla="*/ 204847 w 266342"/>
                <a:gd name="connsiteY12" fmla="*/ 110242 h 234464"/>
                <a:gd name="connsiteX13" fmla="*/ 197712 w 266342"/>
                <a:gd name="connsiteY13" fmla="*/ 98362 h 234464"/>
                <a:gd name="connsiteX14" fmla="*/ 194270 w 266342"/>
                <a:gd name="connsiteY14" fmla="*/ 91865 h 234464"/>
                <a:gd name="connsiteX15" fmla="*/ 194270 w 266342"/>
                <a:gd name="connsiteY15" fmla="*/ 87558 h 234464"/>
                <a:gd name="connsiteX16" fmla="*/ 197570 w 266342"/>
                <a:gd name="connsiteY16" fmla="*/ 80058 h 234464"/>
                <a:gd name="connsiteX17" fmla="*/ 215566 w 266342"/>
                <a:gd name="connsiteY17" fmla="*/ 63798 h 234464"/>
                <a:gd name="connsiteX18" fmla="*/ 220329 w 266342"/>
                <a:gd name="connsiteY18" fmla="*/ 46590 h 234464"/>
                <a:gd name="connsiteX19" fmla="*/ 206523 w 266342"/>
                <a:gd name="connsiteY19" fmla="*/ 34691 h 234464"/>
                <a:gd name="connsiteX20" fmla="*/ 204740 w 266342"/>
                <a:gd name="connsiteY20" fmla="*/ 34472 h 234464"/>
                <a:gd name="connsiteX21" fmla="*/ 198176 w 266342"/>
                <a:gd name="connsiteY21" fmla="*/ 30822 h 234464"/>
                <a:gd name="connsiteX22" fmla="*/ 197409 w 266342"/>
                <a:gd name="connsiteY22" fmla="*/ 23121 h 234464"/>
                <a:gd name="connsiteX23" fmla="*/ 208450 w 266342"/>
                <a:gd name="connsiteY23" fmla="*/ 3796 h 234464"/>
                <a:gd name="connsiteX24" fmla="*/ 202118 w 266342"/>
                <a:gd name="connsiteY24" fmla="*/ 0 h 234464"/>
                <a:gd name="connsiteX25" fmla="*/ 191042 w 266342"/>
                <a:gd name="connsiteY25" fmla="*/ 19453 h 234464"/>
                <a:gd name="connsiteX26" fmla="*/ 192647 w 266342"/>
                <a:gd name="connsiteY26" fmla="*/ 35877 h 234464"/>
                <a:gd name="connsiteX27" fmla="*/ 203830 w 266342"/>
                <a:gd name="connsiteY27" fmla="*/ 41936 h 234464"/>
                <a:gd name="connsiteX28" fmla="*/ 205614 w 266342"/>
                <a:gd name="connsiteY28" fmla="*/ 42173 h 234464"/>
                <a:gd name="connsiteX29" fmla="*/ 213301 w 266342"/>
                <a:gd name="connsiteY29" fmla="*/ 48779 h 234464"/>
                <a:gd name="connsiteX30" fmla="*/ 210697 w 266342"/>
                <a:gd name="connsiteY30" fmla="*/ 58178 h 234464"/>
                <a:gd name="connsiteX31" fmla="*/ 192700 w 266342"/>
                <a:gd name="connsiteY31" fmla="*/ 74437 h 234464"/>
                <a:gd name="connsiteX32" fmla="*/ 186922 w 266342"/>
                <a:gd name="connsiteY32" fmla="*/ 87577 h 234464"/>
                <a:gd name="connsiteX33" fmla="*/ 186922 w 266342"/>
                <a:gd name="connsiteY33" fmla="*/ 91883 h 234464"/>
                <a:gd name="connsiteX34" fmla="*/ 193735 w 266342"/>
                <a:gd name="connsiteY34" fmla="*/ 104658 h 234464"/>
                <a:gd name="connsiteX35" fmla="*/ 197516 w 266342"/>
                <a:gd name="connsiteY35" fmla="*/ 110954 h 234464"/>
                <a:gd name="connsiteX36" fmla="*/ 197926 w 266342"/>
                <a:gd name="connsiteY36" fmla="*/ 115279 h 234464"/>
                <a:gd name="connsiteX37" fmla="*/ 211607 w 266342"/>
                <a:gd name="connsiteY37" fmla="*/ 127943 h 234464"/>
                <a:gd name="connsiteX38" fmla="*/ 222059 w 266342"/>
                <a:gd name="connsiteY38" fmla="*/ 127943 h 234464"/>
                <a:gd name="connsiteX39" fmla="*/ 242570 w 266342"/>
                <a:gd name="connsiteY39" fmla="*/ 114238 h 234464"/>
                <a:gd name="connsiteX40" fmla="*/ 243194 w 266342"/>
                <a:gd name="connsiteY40" fmla="*/ 112760 h 234464"/>
                <a:gd name="connsiteX41" fmla="*/ 250525 w 266342"/>
                <a:gd name="connsiteY41" fmla="*/ 107614 h 234464"/>
                <a:gd name="connsiteX42" fmla="*/ 253004 w 266342"/>
                <a:gd name="connsiteY42" fmla="*/ 107505 h 234464"/>
                <a:gd name="connsiteX43" fmla="*/ 254199 w 266342"/>
                <a:gd name="connsiteY43" fmla="*/ 107505 h 234464"/>
                <a:gd name="connsiteX44" fmla="*/ 258587 w 266342"/>
                <a:gd name="connsiteY44" fmla="*/ 107048 h 234464"/>
                <a:gd name="connsiteX45" fmla="*/ 124315 w 266342"/>
                <a:gd name="connsiteY45" fmla="*/ 226539 h 234464"/>
                <a:gd name="connsiteX46" fmla="*/ 7528 w 266342"/>
                <a:gd name="connsiteY46" fmla="*/ 89159 h 234464"/>
                <a:gd name="connsiteX47" fmla="*/ 10024 w 266342"/>
                <a:gd name="connsiteY47" fmla="*/ 71098 h 234464"/>
                <a:gd name="connsiteX48" fmla="*/ 16890 w 266342"/>
                <a:gd name="connsiteY48" fmla="*/ 69711 h 234464"/>
                <a:gd name="connsiteX49" fmla="*/ 32622 w 266342"/>
                <a:gd name="connsiteY49" fmla="*/ 77011 h 234464"/>
                <a:gd name="connsiteX50" fmla="*/ 37973 w 266342"/>
                <a:gd name="connsiteY50" fmla="*/ 83945 h 234464"/>
                <a:gd name="connsiteX51" fmla="*/ 47961 w 266342"/>
                <a:gd name="connsiteY51" fmla="*/ 93581 h 234464"/>
                <a:gd name="connsiteX52" fmla="*/ 57396 w 266342"/>
                <a:gd name="connsiteY52" fmla="*/ 99055 h 234464"/>
                <a:gd name="connsiteX53" fmla="*/ 58555 w 266342"/>
                <a:gd name="connsiteY53" fmla="*/ 99384 h 234464"/>
                <a:gd name="connsiteX54" fmla="*/ 67598 w 266342"/>
                <a:gd name="connsiteY54" fmla="*/ 108508 h 234464"/>
                <a:gd name="connsiteX55" fmla="*/ 72949 w 266342"/>
                <a:gd name="connsiteY55" fmla="*/ 128290 h 234464"/>
                <a:gd name="connsiteX56" fmla="*/ 77373 w 266342"/>
                <a:gd name="connsiteY56" fmla="*/ 137415 h 234464"/>
                <a:gd name="connsiteX57" fmla="*/ 93603 w 266342"/>
                <a:gd name="connsiteY57" fmla="*/ 159204 h 234464"/>
                <a:gd name="connsiteX58" fmla="*/ 96136 w 266342"/>
                <a:gd name="connsiteY58" fmla="*/ 165153 h 234464"/>
                <a:gd name="connsiteX59" fmla="*/ 100559 w 266342"/>
                <a:gd name="connsiteY59" fmla="*/ 192380 h 234464"/>
                <a:gd name="connsiteX60" fmla="*/ 113285 w 266342"/>
                <a:gd name="connsiteY60" fmla="*/ 201725 h 234464"/>
                <a:gd name="connsiteX61" fmla="*/ 113294 w 266342"/>
                <a:gd name="connsiteY61" fmla="*/ 201724 h 234464"/>
                <a:gd name="connsiteX62" fmla="*/ 115809 w 266342"/>
                <a:gd name="connsiteY62" fmla="*/ 200976 h 234464"/>
                <a:gd name="connsiteX63" fmla="*/ 124727 w 266342"/>
                <a:gd name="connsiteY63" fmla="*/ 188566 h 234464"/>
                <a:gd name="connsiteX64" fmla="*/ 129293 w 266342"/>
                <a:gd name="connsiteY64" fmla="*/ 177471 h 234464"/>
                <a:gd name="connsiteX65" fmla="*/ 133984 w 266342"/>
                <a:gd name="connsiteY65" fmla="*/ 171668 h 234464"/>
                <a:gd name="connsiteX66" fmla="*/ 137213 w 266342"/>
                <a:gd name="connsiteY66" fmla="*/ 165609 h 234464"/>
                <a:gd name="connsiteX67" fmla="*/ 142046 w 266342"/>
                <a:gd name="connsiteY67" fmla="*/ 149550 h 234464"/>
                <a:gd name="connsiteX68" fmla="*/ 147593 w 266342"/>
                <a:gd name="connsiteY68" fmla="*/ 141375 h 234464"/>
                <a:gd name="connsiteX69" fmla="*/ 162112 w 266342"/>
                <a:gd name="connsiteY69" fmla="*/ 129969 h 234464"/>
                <a:gd name="connsiteX70" fmla="*/ 164377 w 266342"/>
                <a:gd name="connsiteY70" fmla="*/ 112395 h 234464"/>
                <a:gd name="connsiteX71" fmla="*/ 163984 w 266342"/>
                <a:gd name="connsiteY71" fmla="*/ 111903 h 234464"/>
                <a:gd name="connsiteX72" fmla="*/ 158509 w 266342"/>
                <a:gd name="connsiteY72" fmla="*/ 105406 h 234464"/>
                <a:gd name="connsiteX73" fmla="*/ 157011 w 266342"/>
                <a:gd name="connsiteY73" fmla="*/ 115206 h 234464"/>
                <a:gd name="connsiteX74" fmla="*/ 158402 w 266342"/>
                <a:gd name="connsiteY74" fmla="*/ 116866 h 234464"/>
                <a:gd name="connsiteX75" fmla="*/ 159543 w 266342"/>
                <a:gd name="connsiteY75" fmla="*/ 120644 h 234464"/>
                <a:gd name="connsiteX76" fmla="*/ 157653 w 266342"/>
                <a:gd name="connsiteY76" fmla="*/ 124111 h 234464"/>
                <a:gd name="connsiteX77" fmla="*/ 143170 w 266342"/>
                <a:gd name="connsiteY77" fmla="*/ 135517 h 234464"/>
                <a:gd name="connsiteX78" fmla="*/ 135054 w 266342"/>
                <a:gd name="connsiteY78" fmla="*/ 147433 h 234464"/>
                <a:gd name="connsiteX79" fmla="*/ 130221 w 266342"/>
                <a:gd name="connsiteY79" fmla="*/ 163492 h 234464"/>
                <a:gd name="connsiteX80" fmla="*/ 128437 w 266342"/>
                <a:gd name="connsiteY80" fmla="*/ 166960 h 234464"/>
                <a:gd name="connsiteX81" fmla="*/ 123728 w 266342"/>
                <a:gd name="connsiteY81" fmla="*/ 172763 h 234464"/>
                <a:gd name="connsiteX82" fmla="*/ 117504 w 266342"/>
                <a:gd name="connsiteY82" fmla="*/ 187873 h 234464"/>
                <a:gd name="connsiteX83" fmla="*/ 112973 w 266342"/>
                <a:gd name="connsiteY83" fmla="*/ 194151 h 234464"/>
                <a:gd name="connsiteX84" fmla="*/ 108034 w 266342"/>
                <a:gd name="connsiteY84" fmla="*/ 192055 h 234464"/>
                <a:gd name="connsiteX85" fmla="*/ 108033 w 266342"/>
                <a:gd name="connsiteY85" fmla="*/ 192052 h 234464"/>
                <a:gd name="connsiteX86" fmla="*/ 107801 w 266342"/>
                <a:gd name="connsiteY86" fmla="*/ 191231 h 234464"/>
                <a:gd name="connsiteX87" fmla="*/ 103377 w 266342"/>
                <a:gd name="connsiteY87" fmla="*/ 164022 h 234464"/>
                <a:gd name="connsiteX88" fmla="*/ 99454 w 266342"/>
                <a:gd name="connsiteY88" fmla="*/ 154751 h 234464"/>
                <a:gd name="connsiteX89" fmla="*/ 83401 w 266342"/>
                <a:gd name="connsiteY89" fmla="*/ 132852 h 234464"/>
                <a:gd name="connsiteX90" fmla="*/ 80226 w 266342"/>
                <a:gd name="connsiteY90" fmla="*/ 126283 h 234464"/>
                <a:gd name="connsiteX91" fmla="*/ 74875 w 266342"/>
                <a:gd name="connsiteY91" fmla="*/ 106501 h 234464"/>
                <a:gd name="connsiteX92" fmla="*/ 60607 w 266342"/>
                <a:gd name="connsiteY92" fmla="*/ 92029 h 234464"/>
                <a:gd name="connsiteX93" fmla="*/ 59340 w 266342"/>
                <a:gd name="connsiteY93" fmla="*/ 91774 h 234464"/>
                <a:gd name="connsiteX94" fmla="*/ 53008 w 266342"/>
                <a:gd name="connsiteY94" fmla="*/ 88124 h 234464"/>
                <a:gd name="connsiteX95" fmla="*/ 43002 w 266342"/>
                <a:gd name="connsiteY95" fmla="*/ 78489 h 234464"/>
                <a:gd name="connsiteX96" fmla="*/ 38936 w 266342"/>
                <a:gd name="connsiteY96" fmla="*/ 73251 h 234464"/>
                <a:gd name="connsiteX97" fmla="*/ 15446 w 266342"/>
                <a:gd name="connsiteY97" fmla="*/ 62302 h 234464"/>
                <a:gd name="connsiteX98" fmla="*/ 11879 w 266342"/>
                <a:gd name="connsiteY98" fmla="*/ 63014 h 234464"/>
                <a:gd name="connsiteX99" fmla="*/ 27253 w 266342"/>
                <a:gd name="connsiteY99" fmla="*/ 28341 h 234464"/>
                <a:gd name="connsiteX100" fmla="*/ 22295 w 266342"/>
                <a:gd name="connsiteY100" fmla="*/ 22756 h 234464"/>
                <a:gd name="connsiteX101" fmla="*/ 59439 w 266342"/>
                <a:gd name="connsiteY101" fmla="*/ 211653 h 234464"/>
                <a:gd name="connsiteX102" fmla="*/ 244062 w 266342"/>
                <a:gd name="connsiteY102" fmla="*/ 173649 h 234464"/>
                <a:gd name="connsiteX103" fmla="*/ 253361 w 266342"/>
                <a:gd name="connsiteY103" fmla="*/ 39527 h 2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66342" h="234464">
                  <a:moveTo>
                    <a:pt x="253290" y="39527"/>
                  </a:moveTo>
                  <a:lnTo>
                    <a:pt x="246672" y="42776"/>
                  </a:lnTo>
                  <a:cubicBezTo>
                    <a:pt x="254788" y="60094"/>
                    <a:pt x="258977" y="79064"/>
                    <a:pt x="258926" y="98271"/>
                  </a:cubicBezTo>
                  <a:lnTo>
                    <a:pt x="258926" y="99548"/>
                  </a:lnTo>
                  <a:lnTo>
                    <a:pt x="253575" y="100114"/>
                  </a:lnTo>
                  <a:lnTo>
                    <a:pt x="252790" y="100114"/>
                  </a:lnTo>
                  <a:lnTo>
                    <a:pt x="250311" y="100223"/>
                  </a:lnTo>
                  <a:cubicBezTo>
                    <a:pt x="244312" y="100479"/>
                    <a:pt x="238983" y="104222"/>
                    <a:pt x="236595" y="109859"/>
                  </a:cubicBezTo>
                  <a:lnTo>
                    <a:pt x="235971" y="111319"/>
                  </a:lnTo>
                  <a:cubicBezTo>
                    <a:pt x="233547" y="116886"/>
                    <a:pt x="228140" y="120464"/>
                    <a:pt x="222183" y="120443"/>
                  </a:cubicBezTo>
                  <a:lnTo>
                    <a:pt x="211642" y="120443"/>
                  </a:lnTo>
                  <a:cubicBezTo>
                    <a:pt x="208350" y="120458"/>
                    <a:pt x="205588" y="117902"/>
                    <a:pt x="205275" y="114549"/>
                  </a:cubicBezTo>
                  <a:lnTo>
                    <a:pt x="204847" y="110242"/>
                  </a:lnTo>
                  <a:cubicBezTo>
                    <a:pt x="204379" y="105371"/>
                    <a:pt x="201748" y="100990"/>
                    <a:pt x="197712" y="98362"/>
                  </a:cubicBezTo>
                  <a:cubicBezTo>
                    <a:pt x="195553" y="96943"/>
                    <a:pt x="194254" y="94491"/>
                    <a:pt x="194270" y="91865"/>
                  </a:cubicBezTo>
                  <a:lnTo>
                    <a:pt x="194270" y="87558"/>
                  </a:lnTo>
                  <a:cubicBezTo>
                    <a:pt x="194268" y="84690"/>
                    <a:pt x="195469" y="81958"/>
                    <a:pt x="197570" y="80058"/>
                  </a:cubicBezTo>
                  <a:lnTo>
                    <a:pt x="215566" y="63798"/>
                  </a:lnTo>
                  <a:cubicBezTo>
                    <a:pt x="220311" y="59511"/>
                    <a:pt x="222172" y="52785"/>
                    <a:pt x="220329" y="46590"/>
                  </a:cubicBezTo>
                  <a:cubicBezTo>
                    <a:pt x="218431" y="40179"/>
                    <a:pt x="213020" y="35515"/>
                    <a:pt x="206523" y="34691"/>
                  </a:cubicBezTo>
                  <a:lnTo>
                    <a:pt x="204740" y="34472"/>
                  </a:lnTo>
                  <a:cubicBezTo>
                    <a:pt x="202188" y="34121"/>
                    <a:pt x="199852" y="32822"/>
                    <a:pt x="198176" y="30822"/>
                  </a:cubicBezTo>
                  <a:cubicBezTo>
                    <a:pt x="196350" y="28682"/>
                    <a:pt x="196042" y="25595"/>
                    <a:pt x="197409" y="23121"/>
                  </a:cubicBezTo>
                  <a:lnTo>
                    <a:pt x="208450" y="3796"/>
                  </a:lnTo>
                  <a:lnTo>
                    <a:pt x="202118" y="0"/>
                  </a:lnTo>
                  <a:lnTo>
                    <a:pt x="191042" y="19453"/>
                  </a:lnTo>
                  <a:cubicBezTo>
                    <a:pt x="188114" y="24721"/>
                    <a:pt x="188758" y="31307"/>
                    <a:pt x="192647" y="35877"/>
                  </a:cubicBezTo>
                  <a:cubicBezTo>
                    <a:pt x="195519" y="39236"/>
                    <a:pt x="199501" y="41393"/>
                    <a:pt x="203830" y="41936"/>
                  </a:cubicBezTo>
                  <a:lnTo>
                    <a:pt x="205614" y="42173"/>
                  </a:lnTo>
                  <a:cubicBezTo>
                    <a:pt x="209228" y="42626"/>
                    <a:pt x="212241" y="45215"/>
                    <a:pt x="213301" y="48779"/>
                  </a:cubicBezTo>
                  <a:cubicBezTo>
                    <a:pt x="214283" y="52164"/>
                    <a:pt x="213269" y="55824"/>
                    <a:pt x="210697" y="58178"/>
                  </a:cubicBezTo>
                  <a:lnTo>
                    <a:pt x="192700" y="74437"/>
                  </a:lnTo>
                  <a:cubicBezTo>
                    <a:pt x="189025" y="77769"/>
                    <a:pt x="186922" y="82553"/>
                    <a:pt x="186922" y="87577"/>
                  </a:cubicBezTo>
                  <a:lnTo>
                    <a:pt x="186922" y="91883"/>
                  </a:lnTo>
                  <a:cubicBezTo>
                    <a:pt x="186920" y="97050"/>
                    <a:pt x="189487" y="101863"/>
                    <a:pt x="193735" y="104658"/>
                  </a:cubicBezTo>
                  <a:cubicBezTo>
                    <a:pt x="195869" y="106055"/>
                    <a:pt x="197262" y="108374"/>
                    <a:pt x="197516" y="110954"/>
                  </a:cubicBezTo>
                  <a:lnTo>
                    <a:pt x="197926" y="115279"/>
                  </a:lnTo>
                  <a:cubicBezTo>
                    <a:pt x="198624" y="122472"/>
                    <a:pt x="204542" y="127951"/>
                    <a:pt x="211607" y="127943"/>
                  </a:cubicBezTo>
                  <a:lnTo>
                    <a:pt x="222059" y="127943"/>
                  </a:lnTo>
                  <a:cubicBezTo>
                    <a:pt x="230944" y="127929"/>
                    <a:pt x="238985" y="122556"/>
                    <a:pt x="242570" y="114238"/>
                  </a:cubicBezTo>
                  <a:lnTo>
                    <a:pt x="243194" y="112760"/>
                  </a:lnTo>
                  <a:cubicBezTo>
                    <a:pt x="244474" y="109751"/>
                    <a:pt x="247320" y="107753"/>
                    <a:pt x="250525" y="107614"/>
                  </a:cubicBezTo>
                  <a:lnTo>
                    <a:pt x="253004" y="107505"/>
                  </a:lnTo>
                  <a:lnTo>
                    <a:pt x="254199" y="107505"/>
                  </a:lnTo>
                  <a:lnTo>
                    <a:pt x="258587" y="107048"/>
                  </a:lnTo>
                  <a:cubicBezTo>
                    <a:pt x="253759" y="177981"/>
                    <a:pt x="193643" y="231479"/>
                    <a:pt x="124315" y="226539"/>
                  </a:cubicBezTo>
                  <a:cubicBezTo>
                    <a:pt x="54987" y="221599"/>
                    <a:pt x="2700" y="160092"/>
                    <a:pt x="7528" y="89159"/>
                  </a:cubicBezTo>
                  <a:cubicBezTo>
                    <a:pt x="7942" y="83086"/>
                    <a:pt x="8775" y="77050"/>
                    <a:pt x="10024" y="71098"/>
                  </a:cubicBezTo>
                  <a:lnTo>
                    <a:pt x="16890" y="69711"/>
                  </a:lnTo>
                  <a:cubicBezTo>
                    <a:pt x="23120" y="68455"/>
                    <a:pt x="29441" y="71388"/>
                    <a:pt x="32622" y="77011"/>
                  </a:cubicBezTo>
                  <a:cubicBezTo>
                    <a:pt x="34062" y="79579"/>
                    <a:pt x="35865" y="81916"/>
                    <a:pt x="37973" y="83945"/>
                  </a:cubicBezTo>
                  <a:lnTo>
                    <a:pt x="47961" y="93581"/>
                  </a:lnTo>
                  <a:cubicBezTo>
                    <a:pt x="50619" y="96171"/>
                    <a:pt x="53859" y="98051"/>
                    <a:pt x="57396" y="99055"/>
                  </a:cubicBezTo>
                  <a:lnTo>
                    <a:pt x="58555" y="99384"/>
                  </a:lnTo>
                  <a:cubicBezTo>
                    <a:pt x="62924" y="100594"/>
                    <a:pt x="66355" y="104055"/>
                    <a:pt x="67598" y="108508"/>
                  </a:cubicBezTo>
                  <a:lnTo>
                    <a:pt x="72949" y="128290"/>
                  </a:lnTo>
                  <a:cubicBezTo>
                    <a:pt x="73839" y="131593"/>
                    <a:pt x="75340" y="134691"/>
                    <a:pt x="77373" y="137415"/>
                  </a:cubicBezTo>
                  <a:lnTo>
                    <a:pt x="93603" y="159204"/>
                  </a:lnTo>
                  <a:cubicBezTo>
                    <a:pt x="94908" y="160947"/>
                    <a:pt x="95777" y="162989"/>
                    <a:pt x="96136" y="165153"/>
                  </a:cubicBezTo>
                  <a:lnTo>
                    <a:pt x="100559" y="192380"/>
                  </a:lnTo>
                  <a:cubicBezTo>
                    <a:pt x="101551" y="198556"/>
                    <a:pt x="107249" y="202740"/>
                    <a:pt x="113285" y="201725"/>
                  </a:cubicBezTo>
                  <a:cubicBezTo>
                    <a:pt x="113288" y="201725"/>
                    <a:pt x="113291" y="201724"/>
                    <a:pt x="113294" y="201724"/>
                  </a:cubicBezTo>
                  <a:cubicBezTo>
                    <a:pt x="114158" y="201575"/>
                    <a:pt x="115002" y="201324"/>
                    <a:pt x="115809" y="200976"/>
                  </a:cubicBezTo>
                  <a:cubicBezTo>
                    <a:pt x="120769" y="198810"/>
                    <a:pt x="124185" y="194056"/>
                    <a:pt x="124727" y="188566"/>
                  </a:cubicBezTo>
                  <a:cubicBezTo>
                    <a:pt x="125136" y="184485"/>
                    <a:pt x="126726" y="180622"/>
                    <a:pt x="129293" y="177471"/>
                  </a:cubicBezTo>
                  <a:lnTo>
                    <a:pt x="133984" y="171668"/>
                  </a:lnTo>
                  <a:cubicBezTo>
                    <a:pt x="135442" y="169887"/>
                    <a:pt x="136540" y="167828"/>
                    <a:pt x="137213" y="165609"/>
                  </a:cubicBezTo>
                  <a:lnTo>
                    <a:pt x="142046" y="149550"/>
                  </a:lnTo>
                  <a:cubicBezTo>
                    <a:pt x="143012" y="146298"/>
                    <a:pt x="144953" y="143438"/>
                    <a:pt x="147593" y="141375"/>
                  </a:cubicBezTo>
                  <a:lnTo>
                    <a:pt x="162112" y="129969"/>
                  </a:lnTo>
                  <a:cubicBezTo>
                    <a:pt x="167479" y="125755"/>
                    <a:pt x="168493" y="117889"/>
                    <a:pt x="164377" y="112395"/>
                  </a:cubicBezTo>
                  <a:lnTo>
                    <a:pt x="163984" y="111903"/>
                  </a:lnTo>
                  <a:lnTo>
                    <a:pt x="158509" y="105406"/>
                  </a:lnTo>
                  <a:cubicBezTo>
                    <a:pt x="159083" y="108752"/>
                    <a:pt x="158556" y="112199"/>
                    <a:pt x="157011" y="115206"/>
                  </a:cubicBezTo>
                  <a:lnTo>
                    <a:pt x="158402" y="116866"/>
                  </a:lnTo>
                  <a:cubicBezTo>
                    <a:pt x="159275" y="117910"/>
                    <a:pt x="159688" y="119277"/>
                    <a:pt x="159543" y="120644"/>
                  </a:cubicBezTo>
                  <a:cubicBezTo>
                    <a:pt x="159396" y="122013"/>
                    <a:pt x="158714" y="123263"/>
                    <a:pt x="157653" y="124111"/>
                  </a:cubicBezTo>
                  <a:lnTo>
                    <a:pt x="143170" y="135517"/>
                  </a:lnTo>
                  <a:cubicBezTo>
                    <a:pt x="139313" y="138523"/>
                    <a:pt x="136475" y="142691"/>
                    <a:pt x="135054" y="147433"/>
                  </a:cubicBezTo>
                  <a:lnTo>
                    <a:pt x="130221" y="163492"/>
                  </a:lnTo>
                  <a:cubicBezTo>
                    <a:pt x="129862" y="164760"/>
                    <a:pt x="129255" y="165939"/>
                    <a:pt x="128437" y="166960"/>
                  </a:cubicBezTo>
                  <a:lnTo>
                    <a:pt x="123728" y="172763"/>
                  </a:lnTo>
                  <a:cubicBezTo>
                    <a:pt x="120237" y="177058"/>
                    <a:pt x="118071" y="182317"/>
                    <a:pt x="117504" y="187873"/>
                  </a:cubicBezTo>
                  <a:cubicBezTo>
                    <a:pt x="117237" y="190659"/>
                    <a:pt x="115497" y="193070"/>
                    <a:pt x="112973" y="194151"/>
                  </a:cubicBezTo>
                  <a:cubicBezTo>
                    <a:pt x="111044" y="194967"/>
                    <a:pt x="108832" y="194029"/>
                    <a:pt x="108034" y="192055"/>
                  </a:cubicBezTo>
                  <a:cubicBezTo>
                    <a:pt x="108033" y="192054"/>
                    <a:pt x="108033" y="192053"/>
                    <a:pt x="108033" y="192052"/>
                  </a:cubicBezTo>
                  <a:cubicBezTo>
                    <a:pt x="107929" y="191787"/>
                    <a:pt x="107851" y="191512"/>
                    <a:pt x="107801" y="191231"/>
                  </a:cubicBezTo>
                  <a:lnTo>
                    <a:pt x="103377" y="164022"/>
                  </a:lnTo>
                  <a:cubicBezTo>
                    <a:pt x="102821" y="160652"/>
                    <a:pt x="101475" y="157471"/>
                    <a:pt x="99454" y="154751"/>
                  </a:cubicBezTo>
                  <a:lnTo>
                    <a:pt x="83401" y="132852"/>
                  </a:lnTo>
                  <a:cubicBezTo>
                    <a:pt x="81941" y="130891"/>
                    <a:pt x="80864" y="128660"/>
                    <a:pt x="80226" y="126283"/>
                  </a:cubicBezTo>
                  <a:lnTo>
                    <a:pt x="74875" y="106501"/>
                  </a:lnTo>
                  <a:cubicBezTo>
                    <a:pt x="72940" y="99444"/>
                    <a:pt x="67521" y="93947"/>
                    <a:pt x="60607" y="92029"/>
                  </a:cubicBezTo>
                  <a:lnTo>
                    <a:pt x="59340" y="91774"/>
                  </a:lnTo>
                  <a:cubicBezTo>
                    <a:pt x="56966" y="91114"/>
                    <a:pt x="54790" y="89860"/>
                    <a:pt x="53008" y="88124"/>
                  </a:cubicBezTo>
                  <a:lnTo>
                    <a:pt x="43002" y="78489"/>
                  </a:lnTo>
                  <a:cubicBezTo>
                    <a:pt x="41411" y="76950"/>
                    <a:pt x="40041" y="75186"/>
                    <a:pt x="38936" y="73251"/>
                  </a:cubicBezTo>
                  <a:cubicBezTo>
                    <a:pt x="34196" y="64842"/>
                    <a:pt x="24758" y="60442"/>
                    <a:pt x="15446" y="62302"/>
                  </a:cubicBezTo>
                  <a:lnTo>
                    <a:pt x="11879" y="63014"/>
                  </a:lnTo>
                  <a:cubicBezTo>
                    <a:pt x="15282" y="50735"/>
                    <a:pt x="20464" y="39048"/>
                    <a:pt x="27253" y="28341"/>
                  </a:cubicBezTo>
                  <a:cubicBezTo>
                    <a:pt x="25768" y="26331"/>
                    <a:pt x="24108" y="24462"/>
                    <a:pt x="22295" y="22756"/>
                  </a:cubicBezTo>
                  <a:cubicBezTo>
                    <a:pt x="-18430" y="85413"/>
                    <a:pt x="-1800" y="169985"/>
                    <a:pt x="59439" y="211653"/>
                  </a:cubicBezTo>
                  <a:cubicBezTo>
                    <a:pt x="120678" y="253321"/>
                    <a:pt x="203337" y="236306"/>
                    <a:pt x="244062" y="173649"/>
                  </a:cubicBezTo>
                  <a:cubicBezTo>
                    <a:pt x="270009" y="133729"/>
                    <a:pt x="273540" y="82795"/>
                    <a:pt x="253361" y="39527"/>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4" name="Freeform 80">
              <a:extLst>
                <a:ext uri="{FF2B5EF4-FFF2-40B4-BE49-F238E27FC236}">
                  <a16:creationId xmlns:a16="http://schemas.microsoft.com/office/drawing/2014/main" id="{E3240843-89DC-46E0-A6C3-871550130511}"/>
                </a:ext>
              </a:extLst>
            </p:cNvPr>
            <p:cNvSpPr/>
            <p:nvPr/>
          </p:nvSpPr>
          <p:spPr>
            <a:xfrm>
              <a:off x="6560243" y="879413"/>
              <a:ext cx="6902" cy="4197"/>
            </a:xfrm>
            <a:custGeom>
              <a:avLst/>
              <a:gdLst>
                <a:gd name="connsiteX0" fmla="*/ 6903 w 6902"/>
                <a:gd name="connsiteY0" fmla="*/ 4197 h 4197"/>
                <a:gd name="connsiteX1" fmla="*/ 6064 w 6902"/>
                <a:gd name="connsiteY1" fmla="*/ 3048 h 4197"/>
                <a:gd name="connsiteX2" fmla="*/ 0 w 6902"/>
                <a:gd name="connsiteY2" fmla="*/ 0 h 4197"/>
                <a:gd name="connsiteX3" fmla="*/ 910 w 6902"/>
                <a:gd name="connsiteY3" fmla="*/ 511 h 4197"/>
              </a:gdLst>
              <a:ahLst/>
              <a:cxnLst>
                <a:cxn ang="0">
                  <a:pos x="connsiteX0" y="connsiteY0"/>
                </a:cxn>
                <a:cxn ang="0">
                  <a:pos x="connsiteX1" y="connsiteY1"/>
                </a:cxn>
                <a:cxn ang="0">
                  <a:pos x="connsiteX2" y="connsiteY2"/>
                </a:cxn>
                <a:cxn ang="0">
                  <a:pos x="connsiteX3" y="connsiteY3"/>
                </a:cxn>
              </a:cxnLst>
              <a:rect l="l" t="t" r="r" b="b"/>
              <a:pathLst>
                <a:path w="6902" h="4197">
                  <a:moveTo>
                    <a:pt x="6903" y="4197"/>
                  </a:moveTo>
                  <a:cubicBezTo>
                    <a:pt x="6635" y="3814"/>
                    <a:pt x="6350" y="3413"/>
                    <a:pt x="6064" y="3048"/>
                  </a:cubicBezTo>
                  <a:cubicBezTo>
                    <a:pt x="4427" y="1375"/>
                    <a:pt x="2295" y="304"/>
                    <a:pt x="0" y="0"/>
                  </a:cubicBezTo>
                  <a:lnTo>
                    <a:pt x="910" y="511"/>
                  </a:lnTo>
                  <a:close/>
                </a:path>
              </a:pathLst>
            </a:custGeom>
            <a:solidFill>
              <a:srgbClr val="66A3C7"/>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5" name="Freeform 81">
              <a:extLst>
                <a:ext uri="{FF2B5EF4-FFF2-40B4-BE49-F238E27FC236}">
                  <a16:creationId xmlns:a16="http://schemas.microsoft.com/office/drawing/2014/main" id="{81048AAA-7463-4E8C-9993-6C2018034123}"/>
                </a:ext>
              </a:extLst>
            </p:cNvPr>
            <p:cNvSpPr/>
            <p:nvPr/>
          </p:nvSpPr>
          <p:spPr>
            <a:xfrm>
              <a:off x="6508296" y="768336"/>
              <a:ext cx="146798" cy="117372"/>
            </a:xfrm>
            <a:custGeom>
              <a:avLst/>
              <a:gdLst>
                <a:gd name="connsiteX0" fmla="*/ 10282 w 146798"/>
                <a:gd name="connsiteY0" fmla="*/ 110073 h 117372"/>
                <a:gd name="connsiteX1" fmla="*/ 21929 w 146798"/>
                <a:gd name="connsiteY1" fmla="*/ 117373 h 117372"/>
                <a:gd name="connsiteX2" fmla="*/ 20520 w 146798"/>
                <a:gd name="connsiteY2" fmla="*/ 113723 h 117372"/>
                <a:gd name="connsiteX3" fmla="*/ 22303 w 146798"/>
                <a:gd name="connsiteY3" fmla="*/ 109800 h 117372"/>
                <a:gd name="connsiteX4" fmla="*/ 16399 w 146798"/>
                <a:gd name="connsiteY4" fmla="*/ 106004 h 117372"/>
                <a:gd name="connsiteX5" fmla="*/ 8766 w 146798"/>
                <a:gd name="connsiteY5" fmla="*/ 93667 h 117372"/>
                <a:gd name="connsiteX6" fmla="*/ 8926 w 146798"/>
                <a:gd name="connsiteY6" fmla="*/ 83247 h 117372"/>
                <a:gd name="connsiteX7" fmla="*/ 19895 w 146798"/>
                <a:gd name="connsiteY7" fmla="*/ 78174 h 117372"/>
                <a:gd name="connsiteX8" fmla="*/ 31489 w 146798"/>
                <a:gd name="connsiteY8" fmla="*/ 79671 h 117372"/>
                <a:gd name="connsiteX9" fmla="*/ 48932 w 146798"/>
                <a:gd name="connsiteY9" fmla="*/ 70911 h 117372"/>
                <a:gd name="connsiteX10" fmla="*/ 59634 w 146798"/>
                <a:gd name="connsiteY10" fmla="*/ 65546 h 117372"/>
                <a:gd name="connsiteX11" fmla="*/ 64664 w 146798"/>
                <a:gd name="connsiteY11" fmla="*/ 66203 h 117372"/>
                <a:gd name="connsiteX12" fmla="*/ 80716 w 146798"/>
                <a:gd name="connsiteY12" fmla="*/ 59359 h 117372"/>
                <a:gd name="connsiteX13" fmla="*/ 85157 w 146798"/>
                <a:gd name="connsiteY13" fmla="*/ 53483 h 117372"/>
                <a:gd name="connsiteX14" fmla="*/ 85817 w 146798"/>
                <a:gd name="connsiteY14" fmla="*/ 26438 h 117372"/>
                <a:gd name="connsiteX15" fmla="*/ 73100 w 146798"/>
                <a:gd name="connsiteY15" fmla="*/ 7733 h 117372"/>
                <a:gd name="connsiteX16" fmla="*/ 80235 w 146798"/>
                <a:gd name="connsiteY16" fmla="*/ 7514 h 117372"/>
                <a:gd name="connsiteX17" fmla="*/ 143125 w 146798"/>
                <a:gd name="connsiteY17" fmla="*/ 24723 h 117372"/>
                <a:gd name="connsiteX18" fmla="*/ 146799 w 146798"/>
                <a:gd name="connsiteY18" fmla="*/ 18226 h 117372"/>
                <a:gd name="connsiteX19" fmla="*/ 30543 w 146798"/>
                <a:gd name="connsiteY19" fmla="*/ 9850 h 117372"/>
                <a:gd name="connsiteX20" fmla="*/ 28029 w 146798"/>
                <a:gd name="connsiteY20" fmla="*/ 19084 h 117372"/>
                <a:gd name="connsiteX21" fmla="*/ 64682 w 146798"/>
                <a:gd name="connsiteY21" fmla="*/ 8500 h 117372"/>
                <a:gd name="connsiteX22" fmla="*/ 79789 w 146798"/>
                <a:gd name="connsiteY22" fmla="*/ 30782 h 117372"/>
                <a:gd name="connsiteX23" fmla="*/ 79325 w 146798"/>
                <a:gd name="connsiteY23" fmla="*/ 48903 h 117372"/>
                <a:gd name="connsiteX24" fmla="*/ 74902 w 146798"/>
                <a:gd name="connsiteY24" fmla="*/ 54779 h 117372"/>
                <a:gd name="connsiteX25" fmla="*/ 65556 w 146798"/>
                <a:gd name="connsiteY25" fmla="*/ 58739 h 117372"/>
                <a:gd name="connsiteX26" fmla="*/ 60544 w 146798"/>
                <a:gd name="connsiteY26" fmla="*/ 58082 h 117372"/>
                <a:gd name="connsiteX27" fmla="*/ 42708 w 146798"/>
                <a:gd name="connsiteY27" fmla="*/ 67079 h 117372"/>
                <a:gd name="connsiteX28" fmla="*/ 32505 w 146798"/>
                <a:gd name="connsiteY28" fmla="*/ 72207 h 117372"/>
                <a:gd name="connsiteX29" fmla="*/ 20841 w 146798"/>
                <a:gd name="connsiteY29" fmla="*/ 70729 h 117372"/>
                <a:gd name="connsiteX30" fmla="*/ 2862 w 146798"/>
                <a:gd name="connsiteY30" fmla="*/ 79050 h 117372"/>
                <a:gd name="connsiteX31" fmla="*/ 2576 w 146798"/>
                <a:gd name="connsiteY31" fmla="*/ 97719 h 11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6798" h="117372">
                  <a:moveTo>
                    <a:pt x="10282" y="110073"/>
                  </a:moveTo>
                  <a:cubicBezTo>
                    <a:pt x="12850" y="114220"/>
                    <a:pt x="17151" y="116915"/>
                    <a:pt x="21929" y="117373"/>
                  </a:cubicBezTo>
                  <a:cubicBezTo>
                    <a:pt x="21034" y="116376"/>
                    <a:pt x="20532" y="115076"/>
                    <a:pt x="20520" y="113723"/>
                  </a:cubicBezTo>
                  <a:cubicBezTo>
                    <a:pt x="20469" y="112199"/>
                    <a:pt x="21131" y="110742"/>
                    <a:pt x="22303" y="109800"/>
                  </a:cubicBezTo>
                  <a:cubicBezTo>
                    <a:pt x="19880" y="109500"/>
                    <a:pt x="17714" y="108108"/>
                    <a:pt x="16399" y="106004"/>
                  </a:cubicBezTo>
                  <a:lnTo>
                    <a:pt x="8766" y="93667"/>
                  </a:lnTo>
                  <a:cubicBezTo>
                    <a:pt x="6779" y="90473"/>
                    <a:pt x="6842" y="86376"/>
                    <a:pt x="8926" y="83247"/>
                  </a:cubicBezTo>
                  <a:cubicBezTo>
                    <a:pt x="11343" y="79561"/>
                    <a:pt x="15594" y="77595"/>
                    <a:pt x="19895" y="78174"/>
                  </a:cubicBezTo>
                  <a:lnTo>
                    <a:pt x="31489" y="79671"/>
                  </a:lnTo>
                  <a:cubicBezTo>
                    <a:pt x="38492" y="80581"/>
                    <a:pt x="45352" y="77136"/>
                    <a:pt x="48932" y="70911"/>
                  </a:cubicBezTo>
                  <a:cubicBezTo>
                    <a:pt x="51106" y="67068"/>
                    <a:pt x="55334" y="64949"/>
                    <a:pt x="59634" y="65546"/>
                  </a:cubicBezTo>
                  <a:lnTo>
                    <a:pt x="64664" y="66203"/>
                  </a:lnTo>
                  <a:cubicBezTo>
                    <a:pt x="70820" y="66981"/>
                    <a:pt x="76921" y="64380"/>
                    <a:pt x="80716" y="59359"/>
                  </a:cubicBezTo>
                  <a:lnTo>
                    <a:pt x="85157" y="53483"/>
                  </a:lnTo>
                  <a:cubicBezTo>
                    <a:pt x="91148" y="45591"/>
                    <a:pt x="91415" y="34627"/>
                    <a:pt x="85817" y="26438"/>
                  </a:cubicBezTo>
                  <a:lnTo>
                    <a:pt x="73100" y="7733"/>
                  </a:lnTo>
                  <a:cubicBezTo>
                    <a:pt x="75455" y="7605"/>
                    <a:pt x="77845" y="7514"/>
                    <a:pt x="80235" y="7514"/>
                  </a:cubicBezTo>
                  <a:cubicBezTo>
                    <a:pt x="102310" y="7511"/>
                    <a:pt x="123998" y="13446"/>
                    <a:pt x="143125" y="24723"/>
                  </a:cubicBezTo>
                  <a:lnTo>
                    <a:pt x="146799" y="18226"/>
                  </a:lnTo>
                  <a:cubicBezTo>
                    <a:pt x="111361" y="-2686"/>
                    <a:pt x="68496" y="-5775"/>
                    <a:pt x="30543" y="9850"/>
                  </a:cubicBezTo>
                  <a:cubicBezTo>
                    <a:pt x="30044" y="12898"/>
                    <a:pt x="28760" y="16109"/>
                    <a:pt x="28029" y="19084"/>
                  </a:cubicBezTo>
                  <a:cubicBezTo>
                    <a:pt x="39669" y="13724"/>
                    <a:pt x="52020" y="10157"/>
                    <a:pt x="64682" y="8500"/>
                  </a:cubicBezTo>
                  <a:lnTo>
                    <a:pt x="79789" y="30782"/>
                  </a:lnTo>
                  <a:cubicBezTo>
                    <a:pt x="83521" y="36277"/>
                    <a:pt x="83333" y="43615"/>
                    <a:pt x="79325" y="48903"/>
                  </a:cubicBezTo>
                  <a:lnTo>
                    <a:pt x="74902" y="54779"/>
                  </a:lnTo>
                  <a:cubicBezTo>
                    <a:pt x="72695" y="57704"/>
                    <a:pt x="69137" y="59211"/>
                    <a:pt x="65556" y="58739"/>
                  </a:cubicBezTo>
                  <a:lnTo>
                    <a:pt x="60544" y="58082"/>
                  </a:lnTo>
                  <a:cubicBezTo>
                    <a:pt x="53382" y="57207"/>
                    <a:pt x="46390" y="60734"/>
                    <a:pt x="42708" y="67079"/>
                  </a:cubicBezTo>
                  <a:cubicBezTo>
                    <a:pt x="40618" y="70725"/>
                    <a:pt x="36603" y="72743"/>
                    <a:pt x="32505" y="72207"/>
                  </a:cubicBezTo>
                  <a:lnTo>
                    <a:pt x="20841" y="70729"/>
                  </a:lnTo>
                  <a:cubicBezTo>
                    <a:pt x="13791" y="69794"/>
                    <a:pt x="6830" y="73016"/>
                    <a:pt x="2862" y="79050"/>
                  </a:cubicBezTo>
                  <a:cubicBezTo>
                    <a:pt x="-848" y="84663"/>
                    <a:pt x="-960" y="91990"/>
                    <a:pt x="2576" y="97719"/>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6" name="Freeform 82">
              <a:extLst>
                <a:ext uri="{FF2B5EF4-FFF2-40B4-BE49-F238E27FC236}">
                  <a16:creationId xmlns:a16="http://schemas.microsoft.com/office/drawing/2014/main" id="{8A379C5F-BB09-449C-AC1B-FEA1CC593CF2}"/>
                </a:ext>
              </a:extLst>
            </p:cNvPr>
            <p:cNvSpPr/>
            <p:nvPr/>
          </p:nvSpPr>
          <p:spPr>
            <a:xfrm>
              <a:off x="6648905" y="732911"/>
              <a:ext cx="97147" cy="131652"/>
            </a:xfrm>
            <a:custGeom>
              <a:avLst/>
              <a:gdLst>
                <a:gd name="connsiteX0" fmla="*/ 82474 w 97147"/>
                <a:gd name="connsiteY0" fmla="*/ 14415 h 131652"/>
                <a:gd name="connsiteX1" fmla="*/ 14894 w 97147"/>
                <a:gd name="connsiteY1" fmla="*/ 14215 h 131652"/>
                <a:gd name="connsiteX2" fmla="*/ 14697 w 97147"/>
                <a:gd name="connsiteY2" fmla="*/ 14415 h 131652"/>
                <a:gd name="connsiteX3" fmla="*/ 10292 w 97147"/>
                <a:gd name="connsiteY3" fmla="*/ 81754 h 131652"/>
                <a:gd name="connsiteX4" fmla="*/ 45643 w 97147"/>
                <a:gd name="connsiteY4" fmla="*/ 130077 h 131652"/>
                <a:gd name="connsiteX5" fmla="*/ 50601 w 97147"/>
                <a:gd name="connsiteY5" fmla="*/ 131008 h 131652"/>
                <a:gd name="connsiteX6" fmla="*/ 51511 w 97147"/>
                <a:gd name="connsiteY6" fmla="*/ 130077 h 131652"/>
                <a:gd name="connsiteX7" fmla="*/ 86844 w 97147"/>
                <a:gd name="connsiteY7" fmla="*/ 81754 h 131652"/>
                <a:gd name="connsiteX8" fmla="*/ 97064 w 97147"/>
                <a:gd name="connsiteY8" fmla="*/ 47665 h 131652"/>
                <a:gd name="connsiteX9" fmla="*/ 82457 w 97147"/>
                <a:gd name="connsiteY9" fmla="*/ 14415 h 131652"/>
                <a:gd name="connsiteX10" fmla="*/ 80994 w 97147"/>
                <a:gd name="connsiteY10" fmla="*/ 77246 h 131652"/>
                <a:gd name="connsiteX11" fmla="*/ 48586 w 97147"/>
                <a:gd name="connsiteY11" fmla="*/ 121555 h 131652"/>
                <a:gd name="connsiteX12" fmla="*/ 16196 w 97147"/>
                <a:gd name="connsiteY12" fmla="*/ 77265 h 131652"/>
                <a:gd name="connsiteX13" fmla="*/ 19906 w 97147"/>
                <a:gd name="connsiteY13" fmla="*/ 19689 h 131652"/>
                <a:gd name="connsiteX14" fmla="*/ 77106 w 97147"/>
                <a:gd name="connsiteY14" fmla="*/ 19543 h 131652"/>
                <a:gd name="connsiteX15" fmla="*/ 77249 w 97147"/>
                <a:gd name="connsiteY15" fmla="*/ 19689 h 131652"/>
                <a:gd name="connsiteX16" fmla="*/ 89734 w 97147"/>
                <a:gd name="connsiteY16" fmla="*/ 48139 h 131652"/>
                <a:gd name="connsiteX17" fmla="*/ 80976 w 97147"/>
                <a:gd name="connsiteY17" fmla="*/ 77228 h 13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147" h="131652">
                  <a:moveTo>
                    <a:pt x="82474" y="14415"/>
                  </a:moveTo>
                  <a:cubicBezTo>
                    <a:pt x="63864" y="-4726"/>
                    <a:pt x="33613" y="-4816"/>
                    <a:pt x="14894" y="14215"/>
                  </a:cubicBezTo>
                  <a:lnTo>
                    <a:pt x="14697" y="14415"/>
                  </a:lnTo>
                  <a:cubicBezTo>
                    <a:pt x="-3073" y="32553"/>
                    <a:pt x="-4957" y="61355"/>
                    <a:pt x="10292" y="81754"/>
                  </a:cubicBezTo>
                  <a:lnTo>
                    <a:pt x="45643" y="130077"/>
                  </a:lnTo>
                  <a:cubicBezTo>
                    <a:pt x="46762" y="131734"/>
                    <a:pt x="48981" y="132150"/>
                    <a:pt x="50601" y="131008"/>
                  </a:cubicBezTo>
                  <a:cubicBezTo>
                    <a:pt x="50956" y="130755"/>
                    <a:pt x="51264" y="130440"/>
                    <a:pt x="51511" y="130077"/>
                  </a:cubicBezTo>
                  <a:lnTo>
                    <a:pt x="86844" y="81754"/>
                  </a:lnTo>
                  <a:cubicBezTo>
                    <a:pt x="94127" y="72008"/>
                    <a:pt x="97753" y="59913"/>
                    <a:pt x="97064" y="47665"/>
                  </a:cubicBezTo>
                  <a:cubicBezTo>
                    <a:pt x="96280" y="35140"/>
                    <a:pt x="91091" y="23330"/>
                    <a:pt x="82457" y="14415"/>
                  </a:cubicBezTo>
                  <a:close/>
                  <a:moveTo>
                    <a:pt x="80994" y="77246"/>
                  </a:moveTo>
                  <a:lnTo>
                    <a:pt x="48586" y="121555"/>
                  </a:lnTo>
                  <a:lnTo>
                    <a:pt x="16196" y="77265"/>
                  </a:lnTo>
                  <a:cubicBezTo>
                    <a:pt x="3156" y="59833"/>
                    <a:pt x="4742" y="35218"/>
                    <a:pt x="19906" y="19689"/>
                  </a:cubicBezTo>
                  <a:cubicBezTo>
                    <a:pt x="35663" y="3491"/>
                    <a:pt x="61270" y="3426"/>
                    <a:pt x="77106" y="19543"/>
                  </a:cubicBezTo>
                  <a:lnTo>
                    <a:pt x="77249" y="19689"/>
                  </a:lnTo>
                  <a:cubicBezTo>
                    <a:pt x="84634" y="27317"/>
                    <a:pt x="89070" y="37424"/>
                    <a:pt x="89734" y="48139"/>
                  </a:cubicBezTo>
                  <a:cubicBezTo>
                    <a:pt x="90307" y="58595"/>
                    <a:pt x="87200" y="68915"/>
                    <a:pt x="80976" y="77228"/>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7" name="Freeform 83">
              <a:extLst>
                <a:ext uri="{FF2B5EF4-FFF2-40B4-BE49-F238E27FC236}">
                  <a16:creationId xmlns:a16="http://schemas.microsoft.com/office/drawing/2014/main" id="{EF3144B6-45CA-4373-9291-97BA828BEFB6}"/>
                </a:ext>
              </a:extLst>
            </p:cNvPr>
            <p:cNvSpPr/>
            <p:nvPr/>
          </p:nvSpPr>
          <p:spPr>
            <a:xfrm>
              <a:off x="6674483" y="76059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94 h 45950"/>
                <a:gd name="connsiteX4" fmla="*/ 22473 w 44911"/>
                <a:gd name="connsiteY4" fmla="*/ 0 h 45950"/>
                <a:gd name="connsiteX5" fmla="*/ 22456 w 44911"/>
                <a:gd name="connsiteY5" fmla="*/ 0 h 45950"/>
                <a:gd name="connsiteX6" fmla="*/ 33157 w 44911"/>
                <a:gd name="connsiteY6" fmla="*/ 33925 h 45950"/>
                <a:gd name="connsiteX7" fmla="*/ 11793 w 44911"/>
                <a:gd name="connsiteY7" fmla="*/ 33782 h 45950"/>
                <a:gd name="connsiteX8" fmla="*/ 11932 w 44911"/>
                <a:gd name="connsiteY8" fmla="*/ 11923 h 45950"/>
                <a:gd name="connsiteX9" fmla="*/ 33297 w 44911"/>
                <a:gd name="connsiteY9" fmla="*/ 12066 h 45950"/>
                <a:gd name="connsiteX10" fmla="*/ 37652 w 44911"/>
                <a:gd name="connsiteY10" fmla="*/ 22975 h 45950"/>
                <a:gd name="connsiteX11" fmla="*/ 33157 w 44911"/>
                <a:gd name="connsiteY11"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1" y="45951"/>
                    <a:pt x="44901" y="35676"/>
                    <a:pt x="44911" y="22994"/>
                  </a:cubicBezTo>
                  <a:cubicBezTo>
                    <a:pt x="44921" y="10305"/>
                    <a:pt x="34875" y="10"/>
                    <a:pt x="22473" y="0"/>
                  </a:cubicBezTo>
                  <a:cubicBezTo>
                    <a:pt x="22467" y="0"/>
                    <a:pt x="22462" y="0"/>
                    <a:pt x="22456" y="0"/>
                  </a:cubicBezTo>
                  <a:close/>
                  <a:moveTo>
                    <a:pt x="33157" y="33925"/>
                  </a:moveTo>
                  <a:cubicBezTo>
                    <a:pt x="27219" y="39922"/>
                    <a:pt x="17654" y="39858"/>
                    <a:pt x="11793" y="33782"/>
                  </a:cubicBezTo>
                  <a:cubicBezTo>
                    <a:pt x="5932" y="27706"/>
                    <a:pt x="5994" y="17920"/>
                    <a:pt x="11932" y="11923"/>
                  </a:cubicBezTo>
                  <a:cubicBezTo>
                    <a:pt x="17871" y="5926"/>
                    <a:pt x="27436" y="5990"/>
                    <a:pt x="33297" y="12066"/>
                  </a:cubicBezTo>
                  <a:cubicBezTo>
                    <a:pt x="36100" y="14971"/>
                    <a:pt x="37665" y="18893"/>
                    <a:pt x="37652" y="22975"/>
                  </a:cubicBezTo>
                  <a:cubicBezTo>
                    <a:pt x="37639" y="27092"/>
                    <a:pt x="36021" y="31033"/>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8" name="Freeform 84">
              <a:extLst>
                <a:ext uri="{FF2B5EF4-FFF2-40B4-BE49-F238E27FC236}">
                  <a16:creationId xmlns:a16="http://schemas.microsoft.com/office/drawing/2014/main" id="{AC9694A2-4EE0-4C25-B29B-9776A161AE6B}"/>
                </a:ext>
              </a:extLst>
            </p:cNvPr>
            <p:cNvSpPr/>
            <p:nvPr/>
          </p:nvSpPr>
          <p:spPr>
            <a:xfrm>
              <a:off x="6443505" y="716282"/>
              <a:ext cx="97182" cy="131591"/>
            </a:xfrm>
            <a:custGeom>
              <a:avLst/>
              <a:gdLst>
                <a:gd name="connsiteX0" fmla="*/ 82474 w 97182"/>
                <a:gd name="connsiteY0" fmla="*/ 14438 h 131591"/>
                <a:gd name="connsiteX1" fmla="*/ 14950 w 97182"/>
                <a:gd name="connsiteY1" fmla="*/ 14179 h 131591"/>
                <a:gd name="connsiteX2" fmla="*/ 14947 w 97182"/>
                <a:gd name="connsiteY2" fmla="*/ 14183 h 131591"/>
                <a:gd name="connsiteX3" fmla="*/ 14697 w 97182"/>
                <a:gd name="connsiteY3" fmla="*/ 14438 h 131591"/>
                <a:gd name="connsiteX4" fmla="*/ 10292 w 97182"/>
                <a:gd name="connsiteY4" fmla="*/ 81777 h 131591"/>
                <a:gd name="connsiteX5" fmla="*/ 45661 w 97182"/>
                <a:gd name="connsiteY5" fmla="*/ 130082 h 131591"/>
                <a:gd name="connsiteX6" fmla="*/ 50798 w 97182"/>
                <a:gd name="connsiteY6" fmla="*/ 130848 h 131591"/>
                <a:gd name="connsiteX7" fmla="*/ 51547 w 97182"/>
                <a:gd name="connsiteY7" fmla="*/ 130082 h 131591"/>
                <a:gd name="connsiteX8" fmla="*/ 86880 w 97182"/>
                <a:gd name="connsiteY8" fmla="*/ 81777 h 131591"/>
                <a:gd name="connsiteX9" fmla="*/ 97100 w 97182"/>
                <a:gd name="connsiteY9" fmla="*/ 47688 h 131591"/>
                <a:gd name="connsiteX10" fmla="*/ 82474 w 97182"/>
                <a:gd name="connsiteY10" fmla="*/ 14438 h 131591"/>
                <a:gd name="connsiteX11" fmla="*/ 81012 w 97182"/>
                <a:gd name="connsiteY11" fmla="*/ 77269 h 131591"/>
                <a:gd name="connsiteX12" fmla="*/ 48586 w 97182"/>
                <a:gd name="connsiteY12" fmla="*/ 121596 h 131591"/>
                <a:gd name="connsiteX13" fmla="*/ 16231 w 97182"/>
                <a:gd name="connsiteY13" fmla="*/ 77306 h 131591"/>
                <a:gd name="connsiteX14" fmla="*/ 19941 w 97182"/>
                <a:gd name="connsiteY14" fmla="*/ 19730 h 131591"/>
                <a:gd name="connsiteX15" fmla="*/ 77124 w 97182"/>
                <a:gd name="connsiteY15" fmla="*/ 19584 h 131591"/>
                <a:gd name="connsiteX16" fmla="*/ 77266 w 97182"/>
                <a:gd name="connsiteY16" fmla="*/ 19730 h 131591"/>
                <a:gd name="connsiteX17" fmla="*/ 89752 w 97182"/>
                <a:gd name="connsiteY17" fmla="*/ 48180 h 131591"/>
                <a:gd name="connsiteX18" fmla="*/ 80994 w 97182"/>
                <a:gd name="connsiteY18" fmla="*/ 77269 h 13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182" h="131591">
                  <a:moveTo>
                    <a:pt x="82474" y="14438"/>
                  </a:moveTo>
                  <a:cubicBezTo>
                    <a:pt x="63898" y="-4711"/>
                    <a:pt x="33666" y="-4827"/>
                    <a:pt x="14950" y="14179"/>
                  </a:cubicBezTo>
                  <a:cubicBezTo>
                    <a:pt x="14949" y="14181"/>
                    <a:pt x="14948" y="14182"/>
                    <a:pt x="14947" y="14183"/>
                  </a:cubicBezTo>
                  <a:lnTo>
                    <a:pt x="14697" y="14438"/>
                  </a:lnTo>
                  <a:cubicBezTo>
                    <a:pt x="-3073" y="32575"/>
                    <a:pt x="-4957" y="61378"/>
                    <a:pt x="10292" y="81777"/>
                  </a:cubicBezTo>
                  <a:lnTo>
                    <a:pt x="45661" y="130082"/>
                  </a:lnTo>
                  <a:cubicBezTo>
                    <a:pt x="46874" y="131743"/>
                    <a:pt x="49172" y="132086"/>
                    <a:pt x="50798" y="130848"/>
                  </a:cubicBezTo>
                  <a:cubicBezTo>
                    <a:pt x="51082" y="130630"/>
                    <a:pt x="51334" y="130372"/>
                    <a:pt x="51547" y="130082"/>
                  </a:cubicBezTo>
                  <a:lnTo>
                    <a:pt x="86880" y="81777"/>
                  </a:lnTo>
                  <a:cubicBezTo>
                    <a:pt x="94163" y="72030"/>
                    <a:pt x="97789" y="59936"/>
                    <a:pt x="97100" y="47688"/>
                  </a:cubicBezTo>
                  <a:cubicBezTo>
                    <a:pt x="96320" y="35158"/>
                    <a:pt x="91124" y="23344"/>
                    <a:pt x="82474" y="14438"/>
                  </a:cubicBezTo>
                  <a:close/>
                  <a:moveTo>
                    <a:pt x="81012" y="77269"/>
                  </a:moveTo>
                  <a:lnTo>
                    <a:pt x="48586" y="121596"/>
                  </a:lnTo>
                  <a:lnTo>
                    <a:pt x="16231" y="77306"/>
                  </a:lnTo>
                  <a:cubicBezTo>
                    <a:pt x="3119" y="59897"/>
                    <a:pt x="4709" y="35227"/>
                    <a:pt x="19941" y="19730"/>
                  </a:cubicBezTo>
                  <a:cubicBezTo>
                    <a:pt x="35692" y="3534"/>
                    <a:pt x="61294" y="3469"/>
                    <a:pt x="77124" y="19584"/>
                  </a:cubicBezTo>
                  <a:lnTo>
                    <a:pt x="77266" y="19730"/>
                  </a:lnTo>
                  <a:cubicBezTo>
                    <a:pt x="84652" y="27358"/>
                    <a:pt x="89087" y="37465"/>
                    <a:pt x="89752" y="48180"/>
                  </a:cubicBezTo>
                  <a:cubicBezTo>
                    <a:pt x="90325" y="58636"/>
                    <a:pt x="87218" y="68956"/>
                    <a:pt x="80994" y="77269"/>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9" name="Freeform 85">
              <a:extLst>
                <a:ext uri="{FF2B5EF4-FFF2-40B4-BE49-F238E27FC236}">
                  <a16:creationId xmlns:a16="http://schemas.microsoft.com/office/drawing/2014/main" id="{BF0D808C-4982-486F-9A1D-55D08F1158F7}"/>
                </a:ext>
              </a:extLst>
            </p:cNvPr>
            <p:cNvSpPr/>
            <p:nvPr/>
          </p:nvSpPr>
          <p:spPr>
            <a:xfrm>
              <a:off x="6469100" y="74402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22456 w 44911"/>
                <a:gd name="connsiteY4" fmla="*/ 0 h 45950"/>
                <a:gd name="connsiteX5" fmla="*/ 33157 w 44911"/>
                <a:gd name="connsiteY5" fmla="*/ 33925 h 45950"/>
                <a:gd name="connsiteX6" fmla="*/ 11793 w 44911"/>
                <a:gd name="connsiteY6" fmla="*/ 33818 h 45950"/>
                <a:gd name="connsiteX7" fmla="*/ 11897 w 44911"/>
                <a:gd name="connsiteY7" fmla="*/ 11959 h 45950"/>
                <a:gd name="connsiteX8" fmla="*/ 33261 w 44911"/>
                <a:gd name="connsiteY8" fmla="*/ 12066 h 45950"/>
                <a:gd name="connsiteX9" fmla="*/ 37634 w 44911"/>
                <a:gd name="connsiteY9" fmla="*/ 22975 h 45950"/>
                <a:gd name="connsiteX10" fmla="*/ 33157 w 44911"/>
                <a:gd name="connsiteY10"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cubicBezTo>
                    <a:pt x="44911" y="10286"/>
                    <a:pt x="34857" y="0"/>
                    <a:pt x="22456" y="0"/>
                  </a:cubicBezTo>
                  <a:close/>
                  <a:moveTo>
                    <a:pt x="33157" y="33925"/>
                  </a:moveTo>
                  <a:cubicBezTo>
                    <a:pt x="27229" y="39932"/>
                    <a:pt x="17664" y="39884"/>
                    <a:pt x="11793" y="33818"/>
                  </a:cubicBezTo>
                  <a:cubicBezTo>
                    <a:pt x="5922" y="27753"/>
                    <a:pt x="5968" y="17966"/>
                    <a:pt x="11897" y="11959"/>
                  </a:cubicBezTo>
                  <a:cubicBezTo>
                    <a:pt x="17825" y="5953"/>
                    <a:pt x="27390" y="6000"/>
                    <a:pt x="33261" y="12066"/>
                  </a:cubicBezTo>
                  <a:cubicBezTo>
                    <a:pt x="36071" y="14968"/>
                    <a:pt x="37643" y="18891"/>
                    <a:pt x="37634" y="22975"/>
                  </a:cubicBezTo>
                  <a:cubicBezTo>
                    <a:pt x="37623" y="27089"/>
                    <a:pt x="36013" y="31029"/>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0" name="Freeform 86">
              <a:extLst>
                <a:ext uri="{FF2B5EF4-FFF2-40B4-BE49-F238E27FC236}">
                  <a16:creationId xmlns:a16="http://schemas.microsoft.com/office/drawing/2014/main" id="{45174EDF-C046-4114-B594-790BF88F8ADF}"/>
                </a:ext>
              </a:extLst>
            </p:cNvPr>
            <p:cNvSpPr/>
            <p:nvPr/>
          </p:nvSpPr>
          <p:spPr>
            <a:xfrm>
              <a:off x="6522662" y="847624"/>
              <a:ext cx="97236" cy="131641"/>
            </a:xfrm>
            <a:custGeom>
              <a:avLst/>
              <a:gdLst>
                <a:gd name="connsiteX0" fmla="*/ 82474 w 97236"/>
                <a:gd name="connsiteY0" fmla="*/ 14415 h 131641"/>
                <a:gd name="connsiteX1" fmla="*/ 14876 w 97236"/>
                <a:gd name="connsiteY1" fmla="*/ 14233 h 131641"/>
                <a:gd name="connsiteX2" fmla="*/ 14697 w 97236"/>
                <a:gd name="connsiteY2" fmla="*/ 14415 h 131641"/>
                <a:gd name="connsiteX3" fmla="*/ 10292 w 97236"/>
                <a:gd name="connsiteY3" fmla="*/ 81754 h 131641"/>
                <a:gd name="connsiteX4" fmla="*/ 45714 w 97236"/>
                <a:gd name="connsiteY4" fmla="*/ 130132 h 131641"/>
                <a:gd name="connsiteX5" fmla="*/ 50851 w 97236"/>
                <a:gd name="connsiteY5" fmla="*/ 130898 h 131641"/>
                <a:gd name="connsiteX6" fmla="*/ 51600 w 97236"/>
                <a:gd name="connsiteY6" fmla="*/ 130132 h 131641"/>
                <a:gd name="connsiteX7" fmla="*/ 86934 w 97236"/>
                <a:gd name="connsiteY7" fmla="*/ 81809 h 131641"/>
                <a:gd name="connsiteX8" fmla="*/ 97154 w 97236"/>
                <a:gd name="connsiteY8" fmla="*/ 47720 h 131641"/>
                <a:gd name="connsiteX9" fmla="*/ 82528 w 97236"/>
                <a:gd name="connsiteY9" fmla="*/ 14452 h 131641"/>
                <a:gd name="connsiteX10" fmla="*/ 81012 w 97236"/>
                <a:gd name="connsiteY10" fmla="*/ 77210 h 131641"/>
                <a:gd name="connsiteX11" fmla="*/ 48604 w 97236"/>
                <a:gd name="connsiteY11" fmla="*/ 121518 h 131641"/>
                <a:gd name="connsiteX12" fmla="*/ 16231 w 97236"/>
                <a:gd name="connsiteY12" fmla="*/ 77301 h 131641"/>
                <a:gd name="connsiteX13" fmla="*/ 19941 w 97236"/>
                <a:gd name="connsiteY13" fmla="*/ 19726 h 131641"/>
                <a:gd name="connsiteX14" fmla="*/ 77124 w 97236"/>
                <a:gd name="connsiteY14" fmla="*/ 19580 h 131641"/>
                <a:gd name="connsiteX15" fmla="*/ 77266 w 97236"/>
                <a:gd name="connsiteY15" fmla="*/ 19726 h 131641"/>
                <a:gd name="connsiteX16" fmla="*/ 89752 w 97236"/>
                <a:gd name="connsiteY16" fmla="*/ 48176 h 131641"/>
                <a:gd name="connsiteX17" fmla="*/ 80994 w 97236"/>
                <a:gd name="connsiteY17" fmla="*/ 77265 h 13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236" h="131641">
                  <a:moveTo>
                    <a:pt x="82474" y="14415"/>
                  </a:moveTo>
                  <a:cubicBezTo>
                    <a:pt x="63857" y="-4734"/>
                    <a:pt x="33592" y="-4815"/>
                    <a:pt x="14876" y="14233"/>
                  </a:cubicBezTo>
                  <a:lnTo>
                    <a:pt x="14697" y="14415"/>
                  </a:lnTo>
                  <a:cubicBezTo>
                    <a:pt x="-3073" y="32553"/>
                    <a:pt x="-4957" y="61355"/>
                    <a:pt x="10292" y="81754"/>
                  </a:cubicBezTo>
                  <a:lnTo>
                    <a:pt x="45714" y="130132"/>
                  </a:lnTo>
                  <a:cubicBezTo>
                    <a:pt x="46927" y="131793"/>
                    <a:pt x="49225" y="132136"/>
                    <a:pt x="50851" y="130898"/>
                  </a:cubicBezTo>
                  <a:cubicBezTo>
                    <a:pt x="51135" y="130681"/>
                    <a:pt x="51388" y="130422"/>
                    <a:pt x="51600" y="130132"/>
                  </a:cubicBezTo>
                  <a:lnTo>
                    <a:pt x="86934" y="81809"/>
                  </a:lnTo>
                  <a:cubicBezTo>
                    <a:pt x="94216" y="72062"/>
                    <a:pt x="97842" y="59968"/>
                    <a:pt x="97154" y="47720"/>
                  </a:cubicBezTo>
                  <a:cubicBezTo>
                    <a:pt x="96370" y="35186"/>
                    <a:pt x="91174" y="23367"/>
                    <a:pt x="82528" y="14452"/>
                  </a:cubicBezTo>
                  <a:close/>
                  <a:moveTo>
                    <a:pt x="81012" y="77210"/>
                  </a:moveTo>
                  <a:lnTo>
                    <a:pt x="48604" y="121518"/>
                  </a:lnTo>
                  <a:lnTo>
                    <a:pt x="16231" y="77301"/>
                  </a:lnTo>
                  <a:cubicBezTo>
                    <a:pt x="3119" y="59892"/>
                    <a:pt x="4709" y="35222"/>
                    <a:pt x="19941" y="19726"/>
                  </a:cubicBezTo>
                  <a:cubicBezTo>
                    <a:pt x="35692" y="3529"/>
                    <a:pt x="61294" y="3464"/>
                    <a:pt x="77124" y="19580"/>
                  </a:cubicBezTo>
                  <a:lnTo>
                    <a:pt x="77266" y="19726"/>
                  </a:lnTo>
                  <a:cubicBezTo>
                    <a:pt x="84652" y="27353"/>
                    <a:pt x="89087" y="37460"/>
                    <a:pt x="89752" y="48176"/>
                  </a:cubicBezTo>
                  <a:cubicBezTo>
                    <a:pt x="90325" y="58631"/>
                    <a:pt x="87218" y="68951"/>
                    <a:pt x="80994" y="7726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1" name="Freeform 87">
              <a:extLst>
                <a:ext uri="{FF2B5EF4-FFF2-40B4-BE49-F238E27FC236}">
                  <a16:creationId xmlns:a16="http://schemas.microsoft.com/office/drawing/2014/main" id="{84350A4E-01BC-4AD6-A15E-9E29A01BABF4}"/>
                </a:ext>
              </a:extLst>
            </p:cNvPr>
            <p:cNvSpPr/>
            <p:nvPr/>
          </p:nvSpPr>
          <p:spPr>
            <a:xfrm>
              <a:off x="6548257" y="875361"/>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44911 w 44911"/>
                <a:gd name="connsiteY4" fmla="*/ 22975 h 45950"/>
                <a:gd name="connsiteX5" fmla="*/ 22456 w 44911"/>
                <a:gd name="connsiteY5" fmla="*/ 0 h 45950"/>
                <a:gd name="connsiteX6" fmla="*/ 33157 w 44911"/>
                <a:gd name="connsiteY6" fmla="*/ 33907 h 45950"/>
                <a:gd name="connsiteX7" fmla="*/ 11793 w 44911"/>
                <a:gd name="connsiteY7" fmla="*/ 33800 h 45950"/>
                <a:gd name="connsiteX8" fmla="*/ 11897 w 44911"/>
                <a:gd name="connsiteY8" fmla="*/ 11941 h 45950"/>
                <a:gd name="connsiteX9" fmla="*/ 33261 w 44911"/>
                <a:gd name="connsiteY9" fmla="*/ 12048 h 45950"/>
                <a:gd name="connsiteX10" fmla="*/ 37634 w 44911"/>
                <a:gd name="connsiteY10" fmla="*/ 22957 h 45950"/>
                <a:gd name="connsiteX11" fmla="*/ 33157 w 44911"/>
                <a:gd name="connsiteY11" fmla="*/ 33907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lnTo>
                    <a:pt x="44911" y="22975"/>
                  </a:lnTo>
                  <a:cubicBezTo>
                    <a:pt x="44892" y="10295"/>
                    <a:pt x="34849" y="20"/>
                    <a:pt x="22456" y="0"/>
                  </a:cubicBezTo>
                  <a:close/>
                  <a:moveTo>
                    <a:pt x="33157" y="33907"/>
                  </a:moveTo>
                  <a:cubicBezTo>
                    <a:pt x="27229" y="39913"/>
                    <a:pt x="17664" y="39866"/>
                    <a:pt x="11793" y="33800"/>
                  </a:cubicBezTo>
                  <a:cubicBezTo>
                    <a:pt x="5922" y="27735"/>
                    <a:pt x="5968" y="17948"/>
                    <a:pt x="11897" y="11941"/>
                  </a:cubicBezTo>
                  <a:cubicBezTo>
                    <a:pt x="17825" y="5934"/>
                    <a:pt x="27390" y="5982"/>
                    <a:pt x="33261" y="12048"/>
                  </a:cubicBezTo>
                  <a:cubicBezTo>
                    <a:pt x="36071" y="14950"/>
                    <a:pt x="37643" y="18872"/>
                    <a:pt x="37634" y="22957"/>
                  </a:cubicBezTo>
                  <a:cubicBezTo>
                    <a:pt x="37625" y="27071"/>
                    <a:pt x="36014" y="31012"/>
                    <a:pt x="33157" y="33907"/>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grpSp>
      <p:grpSp>
        <p:nvGrpSpPr>
          <p:cNvPr id="18" name="Group 17">
            <a:extLst>
              <a:ext uri="{FF2B5EF4-FFF2-40B4-BE49-F238E27FC236}">
                <a16:creationId xmlns:a16="http://schemas.microsoft.com/office/drawing/2014/main" id="{47094080-A6EF-A5F9-8DE5-A21DFA898B3C}"/>
              </a:ext>
            </a:extLst>
          </p:cNvPr>
          <p:cNvGrpSpPr>
            <a:grpSpLocks/>
          </p:cNvGrpSpPr>
          <p:nvPr/>
        </p:nvGrpSpPr>
        <p:grpSpPr>
          <a:xfrm>
            <a:off x="3938110" y="1115154"/>
            <a:ext cx="8605822" cy="5368175"/>
            <a:chOff x="5118901" y="1717035"/>
            <a:chExt cx="6846837" cy="4270948"/>
          </a:xfrm>
        </p:grpSpPr>
        <p:pic>
          <p:nvPicPr>
            <p:cNvPr id="145" name="Graphic 54">
              <a:extLst>
                <a:ext uri="{FF2B5EF4-FFF2-40B4-BE49-F238E27FC236}">
                  <a16:creationId xmlns:a16="http://schemas.microsoft.com/office/drawing/2014/main" id="{158449C5-8975-4D7D-B365-DE170F4640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18901" y="1971287"/>
              <a:ext cx="6300341" cy="3661520"/>
            </a:xfrm>
            <a:prstGeom prst="rect">
              <a:avLst/>
            </a:prstGeom>
          </p:spPr>
        </p:pic>
        <p:sp>
          <p:nvSpPr>
            <p:cNvPr id="149" name="Oval 148">
              <a:extLst>
                <a:ext uri="{FF2B5EF4-FFF2-40B4-BE49-F238E27FC236}">
                  <a16:creationId xmlns:a16="http://schemas.microsoft.com/office/drawing/2014/main" id="{B44B5276-F66B-4813-B64E-103A6EB78C10}"/>
                </a:ext>
              </a:extLst>
            </p:cNvPr>
            <p:cNvSpPr>
              <a:spLocks/>
            </p:cNvSpPr>
            <p:nvPr/>
          </p:nvSpPr>
          <p:spPr>
            <a:xfrm>
              <a:off x="6194877" y="344509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50" name="Oval 149">
              <a:extLst>
                <a:ext uri="{FF2B5EF4-FFF2-40B4-BE49-F238E27FC236}">
                  <a16:creationId xmlns:a16="http://schemas.microsoft.com/office/drawing/2014/main" id="{9A9EC5F1-65A1-4060-884D-97F98289FEA5}"/>
                </a:ext>
              </a:extLst>
            </p:cNvPr>
            <p:cNvSpPr>
              <a:spLocks/>
            </p:cNvSpPr>
            <p:nvPr/>
          </p:nvSpPr>
          <p:spPr>
            <a:xfrm>
              <a:off x="6459856" y="364387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69" name="Oval 168">
              <a:extLst>
                <a:ext uri="{FF2B5EF4-FFF2-40B4-BE49-F238E27FC236}">
                  <a16:creationId xmlns:a16="http://schemas.microsoft.com/office/drawing/2014/main" id="{0CF3DCC6-13D6-48D8-AC1D-70C84D09E9F3}"/>
                </a:ext>
              </a:extLst>
            </p:cNvPr>
            <p:cNvSpPr>
              <a:spLocks/>
            </p:cNvSpPr>
            <p:nvPr/>
          </p:nvSpPr>
          <p:spPr>
            <a:xfrm>
              <a:off x="6967065" y="330285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0" name="Oval 169">
              <a:extLst>
                <a:ext uri="{FF2B5EF4-FFF2-40B4-BE49-F238E27FC236}">
                  <a16:creationId xmlns:a16="http://schemas.microsoft.com/office/drawing/2014/main" id="{91C89F77-1130-4865-ACC5-46D33C51B7B8}"/>
                </a:ext>
              </a:extLst>
            </p:cNvPr>
            <p:cNvSpPr>
              <a:spLocks/>
            </p:cNvSpPr>
            <p:nvPr/>
          </p:nvSpPr>
          <p:spPr>
            <a:xfrm>
              <a:off x="7033211" y="33417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1" name="Oval 170">
              <a:extLst>
                <a:ext uri="{FF2B5EF4-FFF2-40B4-BE49-F238E27FC236}">
                  <a16:creationId xmlns:a16="http://schemas.microsoft.com/office/drawing/2014/main" id="{67A9F8C5-50E6-43C1-80E8-7D2ED862E5B3}"/>
                </a:ext>
              </a:extLst>
            </p:cNvPr>
            <p:cNvSpPr>
              <a:spLocks/>
            </p:cNvSpPr>
            <p:nvPr/>
          </p:nvSpPr>
          <p:spPr>
            <a:xfrm>
              <a:off x="6259653" y="37644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2" name="Oval 171">
              <a:extLst>
                <a:ext uri="{FF2B5EF4-FFF2-40B4-BE49-F238E27FC236}">
                  <a16:creationId xmlns:a16="http://schemas.microsoft.com/office/drawing/2014/main" id="{D86670CA-30FC-486B-B402-50D56F226F78}"/>
                </a:ext>
              </a:extLst>
            </p:cNvPr>
            <p:cNvSpPr>
              <a:spLocks/>
            </p:cNvSpPr>
            <p:nvPr/>
          </p:nvSpPr>
          <p:spPr>
            <a:xfrm>
              <a:off x="6468683" y="396655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3" name="Oval 172">
              <a:extLst>
                <a:ext uri="{FF2B5EF4-FFF2-40B4-BE49-F238E27FC236}">
                  <a16:creationId xmlns:a16="http://schemas.microsoft.com/office/drawing/2014/main" id="{6FCBFE68-064A-40DE-8FDB-034741A81C52}"/>
                </a:ext>
              </a:extLst>
            </p:cNvPr>
            <p:cNvSpPr>
              <a:spLocks/>
            </p:cNvSpPr>
            <p:nvPr/>
          </p:nvSpPr>
          <p:spPr>
            <a:xfrm>
              <a:off x="6573922" y="405443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4" name="Oval 173">
              <a:extLst>
                <a:ext uri="{FF2B5EF4-FFF2-40B4-BE49-F238E27FC236}">
                  <a16:creationId xmlns:a16="http://schemas.microsoft.com/office/drawing/2014/main" id="{9EBB2FCD-81D3-4E66-98DA-93B8F23A8316}"/>
                </a:ext>
              </a:extLst>
            </p:cNvPr>
            <p:cNvSpPr>
              <a:spLocks/>
            </p:cNvSpPr>
            <p:nvPr/>
          </p:nvSpPr>
          <p:spPr>
            <a:xfrm>
              <a:off x="6766207" y="415043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5" name="Oval 174">
              <a:extLst>
                <a:ext uri="{FF2B5EF4-FFF2-40B4-BE49-F238E27FC236}">
                  <a16:creationId xmlns:a16="http://schemas.microsoft.com/office/drawing/2014/main" id="{F48674B3-772B-4E60-B8AC-952B7996ED7B}"/>
                </a:ext>
              </a:extLst>
            </p:cNvPr>
            <p:cNvSpPr>
              <a:spLocks/>
            </p:cNvSpPr>
            <p:nvPr/>
          </p:nvSpPr>
          <p:spPr>
            <a:xfrm>
              <a:off x="6858862" y="412301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6" name="Oval 175">
              <a:extLst>
                <a:ext uri="{FF2B5EF4-FFF2-40B4-BE49-F238E27FC236}">
                  <a16:creationId xmlns:a16="http://schemas.microsoft.com/office/drawing/2014/main" id="{A524CDC3-AE8D-4C35-B01F-3DFA703879AD}"/>
                </a:ext>
              </a:extLst>
            </p:cNvPr>
            <p:cNvSpPr>
              <a:spLocks/>
            </p:cNvSpPr>
            <p:nvPr/>
          </p:nvSpPr>
          <p:spPr>
            <a:xfrm>
              <a:off x="6727974" y="42671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7" name="Oval 176">
              <a:extLst>
                <a:ext uri="{FF2B5EF4-FFF2-40B4-BE49-F238E27FC236}">
                  <a16:creationId xmlns:a16="http://schemas.microsoft.com/office/drawing/2014/main" id="{3FAAFBE9-D74B-4BC3-B6A7-F323B8FD29D5}"/>
                </a:ext>
              </a:extLst>
            </p:cNvPr>
            <p:cNvSpPr>
              <a:spLocks/>
            </p:cNvSpPr>
            <p:nvPr/>
          </p:nvSpPr>
          <p:spPr>
            <a:xfrm>
              <a:off x="6721745" y="43998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8" name="Oval 177">
              <a:extLst>
                <a:ext uri="{FF2B5EF4-FFF2-40B4-BE49-F238E27FC236}">
                  <a16:creationId xmlns:a16="http://schemas.microsoft.com/office/drawing/2014/main" id="{F6865028-A8EA-44AB-8C81-D42F5B4D736B}"/>
                </a:ext>
              </a:extLst>
            </p:cNvPr>
            <p:cNvSpPr>
              <a:spLocks/>
            </p:cNvSpPr>
            <p:nvPr/>
          </p:nvSpPr>
          <p:spPr>
            <a:xfrm>
              <a:off x="6928744" y="45983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9" name="Oval 178">
              <a:extLst>
                <a:ext uri="{FF2B5EF4-FFF2-40B4-BE49-F238E27FC236}">
                  <a16:creationId xmlns:a16="http://schemas.microsoft.com/office/drawing/2014/main" id="{F8D1C31A-CD49-44BB-8E76-D39D0218314A}"/>
                </a:ext>
              </a:extLst>
            </p:cNvPr>
            <p:cNvSpPr>
              <a:spLocks/>
            </p:cNvSpPr>
            <p:nvPr/>
          </p:nvSpPr>
          <p:spPr>
            <a:xfrm>
              <a:off x="6883771" y="484936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0" name="Oval 179">
              <a:extLst>
                <a:ext uri="{FF2B5EF4-FFF2-40B4-BE49-F238E27FC236}">
                  <a16:creationId xmlns:a16="http://schemas.microsoft.com/office/drawing/2014/main" id="{E042F14B-DC34-48E8-BBC6-C144BFE4E3D4}"/>
                </a:ext>
              </a:extLst>
            </p:cNvPr>
            <p:cNvSpPr>
              <a:spLocks/>
            </p:cNvSpPr>
            <p:nvPr/>
          </p:nvSpPr>
          <p:spPr>
            <a:xfrm>
              <a:off x="7087299" y="48440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1" name="Oval 180">
              <a:extLst>
                <a:ext uri="{FF2B5EF4-FFF2-40B4-BE49-F238E27FC236}">
                  <a16:creationId xmlns:a16="http://schemas.microsoft.com/office/drawing/2014/main" id="{C59D01A6-C0A8-4D1D-AD1E-0320925E4525}"/>
                </a:ext>
              </a:extLst>
            </p:cNvPr>
            <p:cNvSpPr>
              <a:spLocks/>
            </p:cNvSpPr>
            <p:nvPr/>
          </p:nvSpPr>
          <p:spPr>
            <a:xfrm>
              <a:off x="7042036" y="49347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2" name="Oval 181">
              <a:extLst>
                <a:ext uri="{FF2B5EF4-FFF2-40B4-BE49-F238E27FC236}">
                  <a16:creationId xmlns:a16="http://schemas.microsoft.com/office/drawing/2014/main" id="{E6EB4938-2E94-4025-8ABF-13A515683710}"/>
                </a:ext>
              </a:extLst>
            </p:cNvPr>
            <p:cNvSpPr>
              <a:spLocks/>
            </p:cNvSpPr>
            <p:nvPr/>
          </p:nvSpPr>
          <p:spPr>
            <a:xfrm>
              <a:off x="7144302" y="492327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3" name="Straight Arrow Connector 182">
              <a:extLst>
                <a:ext uri="{FF2B5EF4-FFF2-40B4-BE49-F238E27FC236}">
                  <a16:creationId xmlns:a16="http://schemas.microsoft.com/office/drawing/2014/main" id="{F5BDDEA1-D615-435A-8058-4DBD2C8EB253}"/>
                </a:ext>
              </a:extLst>
            </p:cNvPr>
            <p:cNvCxnSpPr>
              <a:cxnSpLocks/>
              <a:endCxn id="149" idx="3"/>
            </p:cNvCxnSpPr>
            <p:nvPr/>
          </p:nvCxnSpPr>
          <p:spPr>
            <a:xfrm flipV="1">
              <a:off x="5595081" y="3491920"/>
              <a:ext cx="607829" cy="2473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EA6FBEC1-7C45-4F81-B585-54BEBB56B559}"/>
                </a:ext>
              </a:extLst>
            </p:cNvPr>
            <p:cNvCxnSpPr>
              <a:cxnSpLocks/>
              <a:endCxn id="150" idx="2"/>
            </p:cNvCxnSpPr>
            <p:nvPr/>
          </p:nvCxnSpPr>
          <p:spPr>
            <a:xfrm>
              <a:off x="5693180" y="3527808"/>
              <a:ext cx="766676" cy="14349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5" name="Oval 184">
              <a:extLst>
                <a:ext uri="{FF2B5EF4-FFF2-40B4-BE49-F238E27FC236}">
                  <a16:creationId xmlns:a16="http://schemas.microsoft.com/office/drawing/2014/main" id="{F8100612-462B-462B-9446-A5F346A5D134}"/>
                </a:ext>
              </a:extLst>
            </p:cNvPr>
            <p:cNvSpPr>
              <a:spLocks/>
            </p:cNvSpPr>
            <p:nvPr/>
          </p:nvSpPr>
          <p:spPr>
            <a:xfrm>
              <a:off x="6826749" y="338693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6" name="Straight Arrow Connector 185">
              <a:extLst>
                <a:ext uri="{FF2B5EF4-FFF2-40B4-BE49-F238E27FC236}">
                  <a16:creationId xmlns:a16="http://schemas.microsoft.com/office/drawing/2014/main" id="{7B267E27-7E31-4812-9F9E-3CEF1D376096}"/>
                </a:ext>
              </a:extLst>
            </p:cNvPr>
            <p:cNvCxnSpPr>
              <a:cxnSpLocks/>
              <a:endCxn id="185" idx="2"/>
            </p:cNvCxnSpPr>
            <p:nvPr/>
          </p:nvCxnSpPr>
          <p:spPr>
            <a:xfrm flipV="1">
              <a:off x="5726192" y="3414365"/>
              <a:ext cx="1100556" cy="221369"/>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16D29DFE-C5B8-4AA0-A13E-EC8F3846A07D}"/>
                </a:ext>
              </a:extLst>
            </p:cNvPr>
            <p:cNvSpPr>
              <a:spLocks/>
            </p:cNvSpPr>
            <p:nvPr/>
          </p:nvSpPr>
          <p:spPr>
            <a:xfrm>
              <a:off x="7974361" y="318561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9" name="Oval 188">
              <a:extLst>
                <a:ext uri="{FF2B5EF4-FFF2-40B4-BE49-F238E27FC236}">
                  <a16:creationId xmlns:a16="http://schemas.microsoft.com/office/drawing/2014/main" id="{48D86840-9D12-47EA-889C-3DC0DEC8F062}"/>
                </a:ext>
              </a:extLst>
            </p:cNvPr>
            <p:cNvSpPr>
              <a:spLocks/>
            </p:cNvSpPr>
            <p:nvPr/>
          </p:nvSpPr>
          <p:spPr>
            <a:xfrm>
              <a:off x="8048759" y="316505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1" name="Straight Arrow Connector 190">
              <a:extLst>
                <a:ext uri="{FF2B5EF4-FFF2-40B4-BE49-F238E27FC236}">
                  <a16:creationId xmlns:a16="http://schemas.microsoft.com/office/drawing/2014/main" id="{17D9AEAE-6ED7-43A5-9F12-5A5F14D317B1}"/>
                </a:ext>
              </a:extLst>
            </p:cNvPr>
            <p:cNvCxnSpPr>
              <a:cxnSpLocks/>
              <a:endCxn id="188" idx="1"/>
            </p:cNvCxnSpPr>
            <p:nvPr/>
          </p:nvCxnSpPr>
          <p:spPr>
            <a:xfrm>
              <a:off x="7562529" y="2337464"/>
              <a:ext cx="419866" cy="856183"/>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1A16A13F-1FA2-459E-918A-E25DFF8D3DA3}"/>
                </a:ext>
              </a:extLst>
            </p:cNvPr>
            <p:cNvCxnSpPr>
              <a:cxnSpLocks/>
              <a:endCxn id="189" idx="1"/>
            </p:cNvCxnSpPr>
            <p:nvPr/>
          </p:nvCxnSpPr>
          <p:spPr>
            <a:xfrm>
              <a:off x="7581360" y="2400587"/>
              <a:ext cx="475433" cy="77250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7A2E12C6-2ABA-411B-9568-C0A02C004731}"/>
                </a:ext>
              </a:extLst>
            </p:cNvPr>
            <p:cNvSpPr>
              <a:spLocks/>
            </p:cNvSpPr>
            <p:nvPr/>
          </p:nvSpPr>
          <p:spPr>
            <a:xfrm>
              <a:off x="7108256" y="1718292"/>
              <a:ext cx="770798" cy="770798"/>
            </a:xfrm>
            <a:prstGeom prst="ellipse">
              <a:avLst/>
            </a:prstGeom>
            <a:blipFill dpi="0" rotWithShape="1">
              <a:blip r:embed="rId8" cstate="screen">
                <a:duotone>
                  <a:schemeClr val="bg2">
                    <a:shade val="45000"/>
                    <a:satMod val="135000"/>
                  </a:schemeClr>
                  <a:prstClr val="white"/>
                </a:duotone>
                <a:extLst>
                  <a:ext uri="{BEBA8EAE-BF5A-486C-A8C5-ECC9F3942E4B}">
                    <a14:imgProps xmlns:a14="http://schemas.microsoft.com/office/drawing/2010/main">
                      <a14:imgLayer r:embed="rId9">
                        <a14:imgEffect>
                          <a14:colorTemperature colorTemp="6427"/>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UK &amp; Ireland</a:t>
              </a:r>
              <a:endParaRPr lang="en-US" sz="1200" b="1">
                <a:solidFill>
                  <a:schemeClr val="tx2"/>
                </a:solidFill>
                <a:latin typeface="+mj-lt"/>
              </a:endParaRPr>
            </a:p>
          </p:txBody>
        </p:sp>
        <p:sp>
          <p:nvSpPr>
            <p:cNvPr id="196" name="Oval 195">
              <a:extLst>
                <a:ext uri="{FF2B5EF4-FFF2-40B4-BE49-F238E27FC236}">
                  <a16:creationId xmlns:a16="http://schemas.microsoft.com/office/drawing/2014/main" id="{326A711F-1C6C-4011-A449-0D0D5842E0AA}"/>
                </a:ext>
              </a:extLst>
            </p:cNvPr>
            <p:cNvSpPr>
              <a:spLocks/>
            </p:cNvSpPr>
            <p:nvPr/>
          </p:nvSpPr>
          <p:spPr>
            <a:xfrm>
              <a:off x="8269729" y="3121843"/>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7" name="Oval 196">
              <a:extLst>
                <a:ext uri="{FF2B5EF4-FFF2-40B4-BE49-F238E27FC236}">
                  <a16:creationId xmlns:a16="http://schemas.microsoft.com/office/drawing/2014/main" id="{80A902A9-6B00-4333-BE79-253D43500C02}"/>
                </a:ext>
              </a:extLst>
            </p:cNvPr>
            <p:cNvSpPr>
              <a:spLocks/>
            </p:cNvSpPr>
            <p:nvPr/>
          </p:nvSpPr>
          <p:spPr>
            <a:xfrm>
              <a:off x="8170198" y="3255637"/>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8" name="Oval 197">
              <a:extLst>
                <a:ext uri="{FF2B5EF4-FFF2-40B4-BE49-F238E27FC236}">
                  <a16:creationId xmlns:a16="http://schemas.microsoft.com/office/drawing/2014/main" id="{F22E89BE-4E93-4D7B-A731-BA537C4B2BA9}"/>
                </a:ext>
              </a:extLst>
            </p:cNvPr>
            <p:cNvSpPr>
              <a:spLocks/>
            </p:cNvSpPr>
            <p:nvPr/>
          </p:nvSpPr>
          <p:spPr>
            <a:xfrm>
              <a:off x="8274989" y="3184880"/>
              <a:ext cx="54863" cy="54863"/>
            </a:xfrm>
            <a:prstGeom prst="ellipse">
              <a:avLst/>
            </a:prstGeom>
            <a:solidFill>
              <a:schemeClr val="accent5"/>
            </a:solidFill>
            <a:ln>
              <a:noFill/>
            </a:ln>
            <a:effectLst>
              <a:glow rad="38100">
                <a:schemeClr val="accent5">
                  <a:satMod val="175000"/>
                  <a:alpha val="24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9" name="Straight Arrow Connector 198">
              <a:extLst>
                <a:ext uri="{FF2B5EF4-FFF2-40B4-BE49-F238E27FC236}">
                  <a16:creationId xmlns:a16="http://schemas.microsoft.com/office/drawing/2014/main" id="{230892DA-5676-43B8-93B1-A116DD5F88D7}"/>
                </a:ext>
              </a:extLst>
            </p:cNvPr>
            <p:cNvCxnSpPr>
              <a:cxnSpLocks/>
              <a:endCxn id="196" idx="7"/>
            </p:cNvCxnSpPr>
            <p:nvPr/>
          </p:nvCxnSpPr>
          <p:spPr>
            <a:xfrm flipH="1">
              <a:off x="8316558" y="2475609"/>
              <a:ext cx="823250" cy="65426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0" name="Oval 199">
              <a:extLst>
                <a:ext uri="{FF2B5EF4-FFF2-40B4-BE49-F238E27FC236}">
                  <a16:creationId xmlns:a16="http://schemas.microsoft.com/office/drawing/2014/main" id="{4B19AEB5-DEB9-4725-9F12-3E0AF686CCB0}"/>
                </a:ext>
              </a:extLst>
            </p:cNvPr>
            <p:cNvSpPr>
              <a:spLocks/>
            </p:cNvSpPr>
            <p:nvPr/>
          </p:nvSpPr>
          <p:spPr>
            <a:xfrm>
              <a:off x="8856803" y="1719087"/>
              <a:ext cx="770798" cy="770798"/>
            </a:xfrm>
            <a:prstGeom prst="ellipse">
              <a:avLst/>
            </a:prstGeom>
            <a:blipFill dpi="0" rotWithShape="1">
              <a:blip r:embed="rId10" cstate="screen">
                <a:duotone>
                  <a:schemeClr val="bg2">
                    <a:shade val="45000"/>
                    <a:satMod val="135000"/>
                  </a:schemeClr>
                  <a:prstClr val="white"/>
                </a:duotone>
                <a:extLst>
                  <a:ext uri="{BEBA8EAE-BF5A-486C-A8C5-ECC9F3942E4B}">
                    <a14:imgProps xmlns:a14="http://schemas.microsoft.com/office/drawing/2010/main">
                      <a14:imgLayer r:embed="rId11">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HQ </a:t>
              </a:r>
              <a:r>
                <a:rPr lang="en-US" sz="840" b="1">
                  <a:solidFill>
                    <a:schemeClr val="tx2"/>
                  </a:solidFill>
                  <a:latin typeface="+mj-lt"/>
                </a:rPr>
                <a:t>Nordic</a:t>
              </a:r>
              <a:endParaRPr lang="en-US" sz="1200" b="1">
                <a:solidFill>
                  <a:schemeClr val="tx2"/>
                </a:solidFill>
                <a:latin typeface="+mj-lt"/>
              </a:endParaRPr>
            </a:p>
          </p:txBody>
        </p:sp>
        <p:sp>
          <p:nvSpPr>
            <p:cNvPr id="201" name="Oval 200">
              <a:extLst>
                <a:ext uri="{FF2B5EF4-FFF2-40B4-BE49-F238E27FC236}">
                  <a16:creationId xmlns:a16="http://schemas.microsoft.com/office/drawing/2014/main" id="{E46B6DFA-0843-4CF5-8A0F-7E5A180EC2C9}"/>
                </a:ext>
              </a:extLst>
            </p:cNvPr>
            <p:cNvSpPr>
              <a:spLocks/>
            </p:cNvSpPr>
            <p:nvPr/>
          </p:nvSpPr>
          <p:spPr>
            <a:xfrm>
              <a:off x="8293054" y="324706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2" name="Oval 201">
              <a:extLst>
                <a:ext uri="{FF2B5EF4-FFF2-40B4-BE49-F238E27FC236}">
                  <a16:creationId xmlns:a16="http://schemas.microsoft.com/office/drawing/2014/main" id="{858D7894-A9F5-4674-B7BE-B7E952C01E00}"/>
                </a:ext>
              </a:extLst>
            </p:cNvPr>
            <p:cNvSpPr>
              <a:spLocks/>
            </p:cNvSpPr>
            <p:nvPr/>
          </p:nvSpPr>
          <p:spPr>
            <a:xfrm>
              <a:off x="8242198" y="333123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3" name="Oval 202">
              <a:extLst>
                <a:ext uri="{FF2B5EF4-FFF2-40B4-BE49-F238E27FC236}">
                  <a16:creationId xmlns:a16="http://schemas.microsoft.com/office/drawing/2014/main" id="{65488F8E-9380-4023-AA28-46AE7F9031C0}"/>
                </a:ext>
              </a:extLst>
            </p:cNvPr>
            <p:cNvSpPr>
              <a:spLocks/>
            </p:cNvSpPr>
            <p:nvPr/>
          </p:nvSpPr>
          <p:spPr>
            <a:xfrm>
              <a:off x="7254939" y="46821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4" name="Oval 203">
              <a:extLst>
                <a:ext uri="{FF2B5EF4-FFF2-40B4-BE49-F238E27FC236}">
                  <a16:creationId xmlns:a16="http://schemas.microsoft.com/office/drawing/2014/main" id="{95AC8968-4A72-47BB-9C9E-C8A1B0172E93}"/>
                </a:ext>
              </a:extLst>
            </p:cNvPr>
            <p:cNvSpPr>
              <a:spLocks/>
            </p:cNvSpPr>
            <p:nvPr/>
          </p:nvSpPr>
          <p:spPr>
            <a:xfrm>
              <a:off x="6705027" y="387730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5" name="Oval 204">
              <a:extLst>
                <a:ext uri="{FF2B5EF4-FFF2-40B4-BE49-F238E27FC236}">
                  <a16:creationId xmlns:a16="http://schemas.microsoft.com/office/drawing/2014/main" id="{3DCED83D-C221-4977-AB32-FD5948867895}"/>
                </a:ext>
              </a:extLst>
            </p:cNvPr>
            <p:cNvSpPr>
              <a:spLocks/>
            </p:cNvSpPr>
            <p:nvPr/>
          </p:nvSpPr>
          <p:spPr>
            <a:xfrm>
              <a:off x="6820541" y="391465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6" name="Oval 205">
              <a:extLst>
                <a:ext uri="{FF2B5EF4-FFF2-40B4-BE49-F238E27FC236}">
                  <a16:creationId xmlns:a16="http://schemas.microsoft.com/office/drawing/2014/main" id="{89036C3E-2BB2-49AE-B987-A92A280CCA90}"/>
                </a:ext>
              </a:extLst>
            </p:cNvPr>
            <p:cNvSpPr>
              <a:spLocks/>
            </p:cNvSpPr>
            <p:nvPr/>
          </p:nvSpPr>
          <p:spPr>
            <a:xfrm>
              <a:off x="8287989" y="336855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07" name="Straight Arrow Connector 206">
              <a:extLst>
                <a:ext uri="{FF2B5EF4-FFF2-40B4-BE49-F238E27FC236}">
                  <a16:creationId xmlns:a16="http://schemas.microsoft.com/office/drawing/2014/main" id="{5D3AC8F4-7B4E-44AB-9142-45A2E2521D6D}"/>
                </a:ext>
              </a:extLst>
            </p:cNvPr>
            <p:cNvCxnSpPr>
              <a:cxnSpLocks/>
              <a:stCxn id="206" idx="5"/>
            </p:cNvCxnSpPr>
            <p:nvPr/>
          </p:nvCxnSpPr>
          <p:spPr>
            <a:xfrm>
              <a:off x="8334817" y="3415380"/>
              <a:ext cx="811869" cy="1560666"/>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9" name="Oval 208">
              <a:extLst>
                <a:ext uri="{FF2B5EF4-FFF2-40B4-BE49-F238E27FC236}">
                  <a16:creationId xmlns:a16="http://schemas.microsoft.com/office/drawing/2014/main" id="{F19AE8BC-F534-40AB-A695-545FF6386BDE}"/>
                </a:ext>
              </a:extLst>
            </p:cNvPr>
            <p:cNvSpPr>
              <a:spLocks/>
            </p:cNvSpPr>
            <p:nvPr/>
          </p:nvSpPr>
          <p:spPr>
            <a:xfrm>
              <a:off x="8899951" y="4923859"/>
              <a:ext cx="770798" cy="770798"/>
            </a:xfrm>
            <a:prstGeom prst="ellipse">
              <a:avLst/>
            </a:prstGeom>
            <a:blipFill dpi="0" rotWithShape="1">
              <a:blip r:embed="rId12" cstate="screen">
                <a:duotone>
                  <a:schemeClr val="bg2">
                    <a:shade val="45000"/>
                    <a:satMod val="135000"/>
                  </a:schemeClr>
                  <a:prstClr val="white"/>
                </a:duotone>
                <a:extLst>
                  <a:ext uri="{BEBA8EAE-BF5A-486C-A8C5-ECC9F3942E4B}">
                    <a14:imgProps xmlns:a14="http://schemas.microsoft.com/office/drawing/2010/main">
                      <a14:imgLayer r:embed="rId13">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Italy</a:t>
              </a:r>
              <a:endParaRPr lang="en-US" sz="1200" b="1">
                <a:solidFill>
                  <a:schemeClr val="tx2"/>
                </a:solidFill>
                <a:latin typeface="+mj-lt"/>
              </a:endParaRPr>
            </a:p>
          </p:txBody>
        </p:sp>
        <p:cxnSp>
          <p:nvCxnSpPr>
            <p:cNvPr id="210" name="Straight Arrow Connector 209">
              <a:extLst>
                <a:ext uri="{FF2B5EF4-FFF2-40B4-BE49-F238E27FC236}">
                  <a16:creationId xmlns:a16="http://schemas.microsoft.com/office/drawing/2014/main" id="{CF9E4527-40CE-48B8-AC13-93152C705471}"/>
                </a:ext>
              </a:extLst>
            </p:cNvPr>
            <p:cNvCxnSpPr>
              <a:cxnSpLocks/>
              <a:stCxn id="23" idx="1"/>
            </p:cNvCxnSpPr>
            <p:nvPr/>
          </p:nvCxnSpPr>
          <p:spPr>
            <a:xfrm>
              <a:off x="9132047" y="3806904"/>
              <a:ext cx="917528" cy="125323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1" name="Oval 210">
              <a:extLst>
                <a:ext uri="{FF2B5EF4-FFF2-40B4-BE49-F238E27FC236}">
                  <a16:creationId xmlns:a16="http://schemas.microsoft.com/office/drawing/2014/main" id="{527649D4-42FF-49A4-904D-46F0562B021F}"/>
                </a:ext>
              </a:extLst>
            </p:cNvPr>
            <p:cNvSpPr>
              <a:spLocks/>
            </p:cNvSpPr>
            <p:nvPr/>
          </p:nvSpPr>
          <p:spPr>
            <a:xfrm>
              <a:off x="9768614" y="4925607"/>
              <a:ext cx="770798" cy="770798"/>
            </a:xfrm>
            <a:prstGeom prst="ellipse">
              <a:avLst/>
            </a:prstGeom>
            <a:blipFill>
              <a:blip r:embed="rId14"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ubai</a:t>
              </a:r>
              <a:endParaRPr lang="en-US" sz="1200" b="1">
                <a:solidFill>
                  <a:schemeClr val="tx2"/>
                </a:solidFill>
                <a:latin typeface="+mj-lt"/>
              </a:endParaRPr>
            </a:p>
          </p:txBody>
        </p:sp>
        <p:sp>
          <p:nvSpPr>
            <p:cNvPr id="212" name="Oval 211">
              <a:extLst>
                <a:ext uri="{FF2B5EF4-FFF2-40B4-BE49-F238E27FC236}">
                  <a16:creationId xmlns:a16="http://schemas.microsoft.com/office/drawing/2014/main" id="{3DABB944-B5EE-4A3E-A5AD-76106AB88465}"/>
                </a:ext>
              </a:extLst>
            </p:cNvPr>
            <p:cNvSpPr>
              <a:spLocks/>
            </p:cNvSpPr>
            <p:nvPr/>
          </p:nvSpPr>
          <p:spPr>
            <a:xfrm>
              <a:off x="8177199" y="342678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3" name="Oval 212">
              <a:extLst>
                <a:ext uri="{FF2B5EF4-FFF2-40B4-BE49-F238E27FC236}">
                  <a16:creationId xmlns:a16="http://schemas.microsoft.com/office/drawing/2014/main" id="{B38A534A-2EA2-45D5-8EDC-CA001DF4429B}"/>
                </a:ext>
              </a:extLst>
            </p:cNvPr>
            <p:cNvSpPr>
              <a:spLocks/>
            </p:cNvSpPr>
            <p:nvPr/>
          </p:nvSpPr>
          <p:spPr>
            <a:xfrm>
              <a:off x="10328914" y="3974640"/>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4" name="Straight Arrow Connector 213">
              <a:extLst>
                <a:ext uri="{FF2B5EF4-FFF2-40B4-BE49-F238E27FC236}">
                  <a16:creationId xmlns:a16="http://schemas.microsoft.com/office/drawing/2014/main" id="{8862610F-8CB5-41E0-9A88-066DB076056F}"/>
                </a:ext>
              </a:extLst>
            </p:cNvPr>
            <p:cNvCxnSpPr>
              <a:cxnSpLocks/>
            </p:cNvCxnSpPr>
            <p:nvPr/>
          </p:nvCxnSpPr>
          <p:spPr>
            <a:xfrm flipV="1">
              <a:off x="10382144" y="3739298"/>
              <a:ext cx="512941" cy="249274"/>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5" name="Oval 214">
              <a:extLst>
                <a:ext uri="{FF2B5EF4-FFF2-40B4-BE49-F238E27FC236}">
                  <a16:creationId xmlns:a16="http://schemas.microsoft.com/office/drawing/2014/main" id="{E2059D6E-7DAE-4281-8F3B-88E5E069281F}"/>
                </a:ext>
              </a:extLst>
            </p:cNvPr>
            <p:cNvSpPr>
              <a:spLocks/>
            </p:cNvSpPr>
            <p:nvPr/>
          </p:nvSpPr>
          <p:spPr>
            <a:xfrm>
              <a:off x="10646706" y="3262791"/>
              <a:ext cx="770798" cy="770798"/>
            </a:xfrm>
            <a:prstGeom prst="ellipse">
              <a:avLst/>
            </a:prstGeom>
            <a:blipFill dpi="0" rotWithShape="1">
              <a:blip r:embed="rId15" cstate="screen">
                <a:duotone>
                  <a:schemeClr val="bg2">
                    <a:shade val="45000"/>
                    <a:satMod val="135000"/>
                  </a:schemeClr>
                  <a:prstClr val="white"/>
                </a:duotone>
                <a:extLst>
                  <a:ext uri="{BEBA8EAE-BF5A-486C-A8C5-ECC9F3942E4B}">
                    <a14:imgProps xmlns:a14="http://schemas.microsoft.com/office/drawing/2010/main">
                      <a14:imgLayer r:embed="rId16">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720" b="1">
                  <a:solidFill>
                    <a:schemeClr val="tx2"/>
                  </a:solidFill>
                  <a:latin typeface="+mj-lt"/>
                </a:rPr>
                <a:t>Philippines</a:t>
              </a:r>
            </a:p>
          </p:txBody>
        </p:sp>
        <p:sp>
          <p:nvSpPr>
            <p:cNvPr id="216" name="Oval 215">
              <a:extLst>
                <a:ext uri="{FF2B5EF4-FFF2-40B4-BE49-F238E27FC236}">
                  <a16:creationId xmlns:a16="http://schemas.microsoft.com/office/drawing/2014/main" id="{20D756D5-8B6B-4AF3-8C68-5B33A2927186}"/>
                </a:ext>
              </a:extLst>
            </p:cNvPr>
            <p:cNvSpPr>
              <a:spLocks/>
            </p:cNvSpPr>
            <p:nvPr/>
          </p:nvSpPr>
          <p:spPr>
            <a:xfrm>
              <a:off x="7970611" y="3536095"/>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7" name="Oval 216">
              <a:extLst>
                <a:ext uri="{FF2B5EF4-FFF2-40B4-BE49-F238E27FC236}">
                  <a16:creationId xmlns:a16="http://schemas.microsoft.com/office/drawing/2014/main" id="{239AF878-0655-483C-9A80-21AAE6EE6977}"/>
                </a:ext>
              </a:extLst>
            </p:cNvPr>
            <p:cNvSpPr>
              <a:spLocks/>
            </p:cNvSpPr>
            <p:nvPr/>
          </p:nvSpPr>
          <p:spPr>
            <a:xfrm>
              <a:off x="8086500" y="350406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8" name="Straight Arrow Connector 217">
              <a:extLst>
                <a:ext uri="{FF2B5EF4-FFF2-40B4-BE49-F238E27FC236}">
                  <a16:creationId xmlns:a16="http://schemas.microsoft.com/office/drawing/2014/main" id="{A2ED9077-1C7A-4218-811D-AEB4E06887BC}"/>
                </a:ext>
              </a:extLst>
            </p:cNvPr>
            <p:cNvCxnSpPr>
              <a:cxnSpLocks/>
            </p:cNvCxnSpPr>
            <p:nvPr/>
          </p:nvCxnSpPr>
          <p:spPr>
            <a:xfrm flipH="1">
              <a:off x="7564657" y="3295594"/>
              <a:ext cx="609934" cy="162675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9" name="Oval 218">
              <a:extLst>
                <a:ext uri="{FF2B5EF4-FFF2-40B4-BE49-F238E27FC236}">
                  <a16:creationId xmlns:a16="http://schemas.microsoft.com/office/drawing/2014/main" id="{439631C1-1BD2-4E30-BD8B-59F241D4926E}"/>
                </a:ext>
              </a:extLst>
            </p:cNvPr>
            <p:cNvSpPr>
              <a:spLocks/>
            </p:cNvSpPr>
            <p:nvPr/>
          </p:nvSpPr>
          <p:spPr>
            <a:xfrm>
              <a:off x="7182899" y="4929217"/>
              <a:ext cx="770798" cy="770798"/>
            </a:xfrm>
            <a:prstGeom prst="ellipse">
              <a:avLst/>
            </a:prstGeom>
            <a:blipFill dpi="0" rotWithShape="1">
              <a:blip r:embed="rId17" cstate="screen">
                <a:duotone>
                  <a:schemeClr val="bg2">
                    <a:shade val="45000"/>
                    <a:satMod val="135000"/>
                  </a:schemeClr>
                  <a:prstClr val="white"/>
                </a:duotone>
                <a:extLst>
                  <a:ext uri="{BEBA8EAE-BF5A-486C-A8C5-ECC9F3942E4B}">
                    <a14:imgProps xmlns:a14="http://schemas.microsoft.com/office/drawing/2010/main">
                      <a14:imgLayer r:embed="rId18">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a:t>
              </a:r>
              <a:r>
                <a:rPr lang="en-US" sz="840" b="1">
                  <a:solidFill>
                    <a:schemeClr val="tx2"/>
                  </a:solidFill>
                  <a:latin typeface="+mj-lt"/>
                </a:rPr>
                <a:t> Benelux</a:t>
              </a:r>
              <a:endParaRPr lang="en-US" sz="1200" b="1">
                <a:solidFill>
                  <a:schemeClr val="tx2"/>
                </a:solidFill>
                <a:latin typeface="+mj-lt"/>
              </a:endParaRPr>
            </a:p>
          </p:txBody>
        </p:sp>
        <p:sp>
          <p:nvSpPr>
            <p:cNvPr id="220" name="Oval 219">
              <a:extLst>
                <a:ext uri="{FF2B5EF4-FFF2-40B4-BE49-F238E27FC236}">
                  <a16:creationId xmlns:a16="http://schemas.microsoft.com/office/drawing/2014/main" id="{AD9D28BF-DA76-4A3C-AA87-63ADFE82DEFD}"/>
                </a:ext>
              </a:extLst>
            </p:cNvPr>
            <p:cNvSpPr>
              <a:spLocks/>
            </p:cNvSpPr>
            <p:nvPr/>
          </p:nvSpPr>
          <p:spPr>
            <a:xfrm>
              <a:off x="8324950" y="35572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1" name="Oval 220">
              <a:extLst>
                <a:ext uri="{FF2B5EF4-FFF2-40B4-BE49-F238E27FC236}">
                  <a16:creationId xmlns:a16="http://schemas.microsoft.com/office/drawing/2014/main" id="{85E4301D-149A-4E4E-8C00-D686DE688892}"/>
                </a:ext>
              </a:extLst>
            </p:cNvPr>
            <p:cNvSpPr>
              <a:spLocks/>
            </p:cNvSpPr>
            <p:nvPr/>
          </p:nvSpPr>
          <p:spPr>
            <a:xfrm>
              <a:off x="7948105" y="36889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2" name="Oval 221">
              <a:extLst>
                <a:ext uri="{FF2B5EF4-FFF2-40B4-BE49-F238E27FC236}">
                  <a16:creationId xmlns:a16="http://schemas.microsoft.com/office/drawing/2014/main" id="{796C1E87-3D1C-4F40-82D4-DA36A0E488B2}"/>
                </a:ext>
              </a:extLst>
            </p:cNvPr>
            <p:cNvSpPr>
              <a:spLocks/>
            </p:cNvSpPr>
            <p:nvPr/>
          </p:nvSpPr>
          <p:spPr>
            <a:xfrm>
              <a:off x="8273449" y="364423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3" name="Oval 222">
              <a:extLst>
                <a:ext uri="{FF2B5EF4-FFF2-40B4-BE49-F238E27FC236}">
                  <a16:creationId xmlns:a16="http://schemas.microsoft.com/office/drawing/2014/main" id="{8AA7F210-AF1E-4A21-ABD9-F87C06418DA9}"/>
                </a:ext>
              </a:extLst>
            </p:cNvPr>
            <p:cNvSpPr>
              <a:spLocks/>
            </p:cNvSpPr>
            <p:nvPr/>
          </p:nvSpPr>
          <p:spPr>
            <a:xfrm>
              <a:off x="8043630" y="399840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4" name="Oval 223">
              <a:extLst>
                <a:ext uri="{FF2B5EF4-FFF2-40B4-BE49-F238E27FC236}">
                  <a16:creationId xmlns:a16="http://schemas.microsoft.com/office/drawing/2014/main" id="{536E26D6-88AC-418D-8A45-6D03459638AF}"/>
                </a:ext>
              </a:extLst>
            </p:cNvPr>
            <p:cNvSpPr>
              <a:spLocks/>
            </p:cNvSpPr>
            <p:nvPr/>
          </p:nvSpPr>
          <p:spPr>
            <a:xfrm>
              <a:off x="8008371"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5" name="Oval 224">
              <a:extLst>
                <a:ext uri="{FF2B5EF4-FFF2-40B4-BE49-F238E27FC236}">
                  <a16:creationId xmlns:a16="http://schemas.microsoft.com/office/drawing/2014/main" id="{F741AB03-373C-43CD-AD96-2C2E2FA6C106}"/>
                </a:ext>
              </a:extLst>
            </p:cNvPr>
            <p:cNvSpPr>
              <a:spLocks/>
            </p:cNvSpPr>
            <p:nvPr/>
          </p:nvSpPr>
          <p:spPr>
            <a:xfrm>
              <a:off x="8098493" y="41389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6" name="Oval 225">
              <a:extLst>
                <a:ext uri="{FF2B5EF4-FFF2-40B4-BE49-F238E27FC236}">
                  <a16:creationId xmlns:a16="http://schemas.microsoft.com/office/drawing/2014/main" id="{1C3F5DB7-B64F-43D9-85B2-103A77907669}"/>
                </a:ext>
              </a:extLst>
            </p:cNvPr>
            <p:cNvSpPr>
              <a:spLocks/>
            </p:cNvSpPr>
            <p:nvPr/>
          </p:nvSpPr>
          <p:spPr>
            <a:xfrm>
              <a:off x="8138058" y="406850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7" name="Oval 226">
              <a:extLst>
                <a:ext uri="{FF2B5EF4-FFF2-40B4-BE49-F238E27FC236}">
                  <a16:creationId xmlns:a16="http://schemas.microsoft.com/office/drawing/2014/main" id="{97C49E8E-AC38-4B9B-8358-496C181B0067}"/>
                </a:ext>
              </a:extLst>
            </p:cNvPr>
            <p:cNvSpPr>
              <a:spLocks/>
            </p:cNvSpPr>
            <p:nvPr/>
          </p:nvSpPr>
          <p:spPr>
            <a:xfrm>
              <a:off x="8196295" y="413183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8" name="Oval 227">
              <a:extLst>
                <a:ext uri="{FF2B5EF4-FFF2-40B4-BE49-F238E27FC236}">
                  <a16:creationId xmlns:a16="http://schemas.microsoft.com/office/drawing/2014/main" id="{03D70F4B-9DEC-448E-9032-44264C889677}"/>
                </a:ext>
              </a:extLst>
            </p:cNvPr>
            <p:cNvSpPr>
              <a:spLocks/>
            </p:cNvSpPr>
            <p:nvPr/>
          </p:nvSpPr>
          <p:spPr>
            <a:xfrm>
              <a:off x="8284743" y="41154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29" name="Straight Arrow Connector 228">
              <a:extLst>
                <a:ext uri="{FF2B5EF4-FFF2-40B4-BE49-F238E27FC236}">
                  <a16:creationId xmlns:a16="http://schemas.microsoft.com/office/drawing/2014/main" id="{AF4F5AA9-0DA7-4C1A-9911-BE4886F40828}"/>
                </a:ext>
              </a:extLst>
            </p:cNvPr>
            <p:cNvCxnSpPr>
              <a:cxnSpLocks/>
            </p:cNvCxnSpPr>
            <p:nvPr/>
          </p:nvCxnSpPr>
          <p:spPr>
            <a:xfrm>
              <a:off x="8191272" y="3351846"/>
              <a:ext cx="156644" cy="169329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30" name="Oval 229">
              <a:extLst>
                <a:ext uri="{FF2B5EF4-FFF2-40B4-BE49-F238E27FC236}">
                  <a16:creationId xmlns:a16="http://schemas.microsoft.com/office/drawing/2014/main" id="{C99116DD-6DDC-48AA-A413-87110AB68240}"/>
                </a:ext>
              </a:extLst>
            </p:cNvPr>
            <p:cNvSpPr>
              <a:spLocks/>
            </p:cNvSpPr>
            <p:nvPr/>
          </p:nvSpPr>
          <p:spPr>
            <a:xfrm>
              <a:off x="10677924" y="5860755"/>
              <a:ext cx="104327" cy="104327"/>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1" name="Rectangle 230">
              <a:extLst>
                <a:ext uri="{FF2B5EF4-FFF2-40B4-BE49-F238E27FC236}">
                  <a16:creationId xmlns:a16="http://schemas.microsoft.com/office/drawing/2014/main" id="{C373B101-7921-4EB8-8FD3-45312E61D6DC}"/>
                </a:ext>
              </a:extLst>
            </p:cNvPr>
            <p:cNvSpPr>
              <a:spLocks/>
            </p:cNvSpPr>
            <p:nvPr/>
          </p:nvSpPr>
          <p:spPr>
            <a:xfrm>
              <a:off x="10752826" y="5826369"/>
              <a:ext cx="1212912" cy="161614"/>
            </a:xfrm>
            <a:prstGeom prst="rect">
              <a:avLst/>
            </a:prstGeom>
          </p:spPr>
          <p:txBody>
            <a:bodyPr wrap="square">
              <a:spAutoFit/>
            </a:bodyPr>
            <a:lstStyle/>
            <a:p>
              <a:pPr marL="0" lvl="1" defTabSz="548640">
                <a:spcBef>
                  <a:spcPts val="720"/>
                </a:spcBef>
                <a:defRPr/>
              </a:pPr>
              <a:r>
                <a:rPr lang="en-US" sz="720" dirty="0">
                  <a:solidFill>
                    <a:schemeClr val="bg1"/>
                  </a:solidFill>
                  <a:latin typeface="+mj-lt"/>
                </a:rPr>
                <a:t>Ellab distributors</a:t>
              </a:r>
            </a:p>
          </p:txBody>
        </p:sp>
        <p:sp>
          <p:nvSpPr>
            <p:cNvPr id="232" name="Oval 231">
              <a:extLst>
                <a:ext uri="{FF2B5EF4-FFF2-40B4-BE49-F238E27FC236}">
                  <a16:creationId xmlns:a16="http://schemas.microsoft.com/office/drawing/2014/main" id="{42270589-1166-44EE-AD46-D92F444DFAE1}"/>
                </a:ext>
              </a:extLst>
            </p:cNvPr>
            <p:cNvSpPr>
              <a:spLocks/>
            </p:cNvSpPr>
            <p:nvPr/>
          </p:nvSpPr>
          <p:spPr>
            <a:xfrm>
              <a:off x="8634423" y="3754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3" name="Oval 232">
              <a:extLst>
                <a:ext uri="{FF2B5EF4-FFF2-40B4-BE49-F238E27FC236}">
                  <a16:creationId xmlns:a16="http://schemas.microsoft.com/office/drawing/2014/main" id="{C600D766-435D-4B80-8EFD-06211D7B7996}"/>
                </a:ext>
              </a:extLst>
            </p:cNvPr>
            <p:cNvSpPr>
              <a:spLocks/>
            </p:cNvSpPr>
            <p:nvPr/>
          </p:nvSpPr>
          <p:spPr>
            <a:xfrm>
              <a:off x="8466439" y="486200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4" name="Oval 233">
              <a:extLst>
                <a:ext uri="{FF2B5EF4-FFF2-40B4-BE49-F238E27FC236}">
                  <a16:creationId xmlns:a16="http://schemas.microsoft.com/office/drawing/2014/main" id="{29510A3E-8217-4286-B348-A01CBEF48BD3}"/>
                </a:ext>
              </a:extLst>
            </p:cNvPr>
            <p:cNvSpPr>
              <a:spLocks/>
            </p:cNvSpPr>
            <p:nvPr/>
          </p:nvSpPr>
          <p:spPr>
            <a:xfrm>
              <a:off x="8743873" y="37051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5" name="Oval 234">
              <a:extLst>
                <a:ext uri="{FF2B5EF4-FFF2-40B4-BE49-F238E27FC236}">
                  <a16:creationId xmlns:a16="http://schemas.microsoft.com/office/drawing/2014/main" id="{E34A5A89-3280-4EF8-A771-ED6297BFB08F}"/>
                </a:ext>
              </a:extLst>
            </p:cNvPr>
            <p:cNvSpPr>
              <a:spLocks/>
            </p:cNvSpPr>
            <p:nvPr/>
          </p:nvSpPr>
          <p:spPr>
            <a:xfrm>
              <a:off x="8745375" y="364565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6" name="Oval 235">
              <a:extLst>
                <a:ext uri="{FF2B5EF4-FFF2-40B4-BE49-F238E27FC236}">
                  <a16:creationId xmlns:a16="http://schemas.microsoft.com/office/drawing/2014/main" id="{27A04F56-13DF-460D-BA90-733AA25A1DFC}"/>
                </a:ext>
              </a:extLst>
            </p:cNvPr>
            <p:cNvSpPr>
              <a:spLocks/>
            </p:cNvSpPr>
            <p:nvPr/>
          </p:nvSpPr>
          <p:spPr>
            <a:xfrm>
              <a:off x="8909626" y="38605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7" name="Oval 236">
              <a:extLst>
                <a:ext uri="{FF2B5EF4-FFF2-40B4-BE49-F238E27FC236}">
                  <a16:creationId xmlns:a16="http://schemas.microsoft.com/office/drawing/2014/main" id="{B2668E9D-2100-4D26-8C86-D9B01A40D2D4}"/>
                </a:ext>
              </a:extLst>
            </p:cNvPr>
            <p:cNvSpPr>
              <a:spLocks/>
            </p:cNvSpPr>
            <p:nvPr/>
          </p:nvSpPr>
          <p:spPr>
            <a:xfrm>
              <a:off x="9001979" y="379186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8" name="Oval 237">
              <a:extLst>
                <a:ext uri="{FF2B5EF4-FFF2-40B4-BE49-F238E27FC236}">
                  <a16:creationId xmlns:a16="http://schemas.microsoft.com/office/drawing/2014/main" id="{CD70685F-B752-4D2D-86E7-E68E3913F2FD}"/>
                </a:ext>
              </a:extLst>
            </p:cNvPr>
            <p:cNvSpPr>
              <a:spLocks/>
            </p:cNvSpPr>
            <p:nvPr/>
          </p:nvSpPr>
          <p:spPr>
            <a:xfrm>
              <a:off x="9509548" y="39910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9" name="Oval 238">
              <a:extLst>
                <a:ext uri="{FF2B5EF4-FFF2-40B4-BE49-F238E27FC236}">
                  <a16:creationId xmlns:a16="http://schemas.microsoft.com/office/drawing/2014/main" id="{B955DF60-EC03-424E-86EA-4A0FDB346403}"/>
                </a:ext>
              </a:extLst>
            </p:cNvPr>
            <p:cNvSpPr>
              <a:spLocks/>
            </p:cNvSpPr>
            <p:nvPr/>
          </p:nvSpPr>
          <p:spPr>
            <a:xfrm>
              <a:off x="9709461" y="382042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0" name="Oval 239">
              <a:extLst>
                <a:ext uri="{FF2B5EF4-FFF2-40B4-BE49-F238E27FC236}">
                  <a16:creationId xmlns:a16="http://schemas.microsoft.com/office/drawing/2014/main" id="{9E8E3492-1598-4D95-86DD-A2ECB01774F0}"/>
                </a:ext>
              </a:extLst>
            </p:cNvPr>
            <p:cNvSpPr>
              <a:spLocks/>
            </p:cNvSpPr>
            <p:nvPr/>
          </p:nvSpPr>
          <p:spPr>
            <a:xfrm>
              <a:off x="9059073" y="37035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1" name="Oval 240">
              <a:extLst>
                <a:ext uri="{FF2B5EF4-FFF2-40B4-BE49-F238E27FC236}">
                  <a16:creationId xmlns:a16="http://schemas.microsoft.com/office/drawing/2014/main" id="{AC95D75C-D5A0-431B-BE8F-F6071D51FB8A}"/>
                </a:ext>
              </a:extLst>
            </p:cNvPr>
            <p:cNvSpPr>
              <a:spLocks/>
            </p:cNvSpPr>
            <p:nvPr/>
          </p:nvSpPr>
          <p:spPr>
            <a:xfrm>
              <a:off x="9933509" y="397464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2" name="Oval 241">
              <a:extLst>
                <a:ext uri="{FF2B5EF4-FFF2-40B4-BE49-F238E27FC236}">
                  <a16:creationId xmlns:a16="http://schemas.microsoft.com/office/drawing/2014/main" id="{636E3C91-AD75-48BC-8A60-7968B9013F64}"/>
                </a:ext>
              </a:extLst>
            </p:cNvPr>
            <p:cNvSpPr>
              <a:spLocks/>
            </p:cNvSpPr>
            <p:nvPr/>
          </p:nvSpPr>
          <p:spPr>
            <a:xfrm>
              <a:off x="9955740"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4" name="Oval 243">
              <a:extLst>
                <a:ext uri="{FF2B5EF4-FFF2-40B4-BE49-F238E27FC236}">
                  <a16:creationId xmlns:a16="http://schemas.microsoft.com/office/drawing/2014/main" id="{B8715869-9927-422B-90A9-CDC52BED51E5}"/>
                </a:ext>
              </a:extLst>
            </p:cNvPr>
            <p:cNvSpPr>
              <a:spLocks/>
            </p:cNvSpPr>
            <p:nvPr/>
          </p:nvSpPr>
          <p:spPr>
            <a:xfrm>
              <a:off x="10097117" y="439489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5" name="Oval 244">
              <a:extLst>
                <a:ext uri="{FF2B5EF4-FFF2-40B4-BE49-F238E27FC236}">
                  <a16:creationId xmlns:a16="http://schemas.microsoft.com/office/drawing/2014/main" id="{5484763B-D96E-48C3-A588-DF23700FDA39}"/>
                </a:ext>
              </a:extLst>
            </p:cNvPr>
            <p:cNvSpPr>
              <a:spLocks/>
            </p:cNvSpPr>
            <p:nvPr/>
          </p:nvSpPr>
          <p:spPr>
            <a:xfrm>
              <a:off x="10798157" y="49209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6" name="Oval 245">
              <a:extLst>
                <a:ext uri="{FF2B5EF4-FFF2-40B4-BE49-F238E27FC236}">
                  <a16:creationId xmlns:a16="http://schemas.microsoft.com/office/drawing/2014/main" id="{85822200-97B6-47C9-9F4B-FE1687ED5BC1}"/>
                </a:ext>
              </a:extLst>
            </p:cNvPr>
            <p:cNvSpPr>
              <a:spLocks/>
            </p:cNvSpPr>
            <p:nvPr/>
          </p:nvSpPr>
          <p:spPr>
            <a:xfrm>
              <a:off x="10740273" y="4378895"/>
              <a:ext cx="54863" cy="5486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7" name="Oval 246">
              <a:extLst>
                <a:ext uri="{FF2B5EF4-FFF2-40B4-BE49-F238E27FC236}">
                  <a16:creationId xmlns:a16="http://schemas.microsoft.com/office/drawing/2014/main" id="{AE6A619F-1F76-4DB0-9911-13BF8084A89B}"/>
                </a:ext>
              </a:extLst>
            </p:cNvPr>
            <p:cNvSpPr>
              <a:spLocks/>
            </p:cNvSpPr>
            <p:nvPr/>
          </p:nvSpPr>
          <p:spPr>
            <a:xfrm>
              <a:off x="10295604" y="37872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8" name="Oval 247">
              <a:extLst>
                <a:ext uri="{FF2B5EF4-FFF2-40B4-BE49-F238E27FC236}">
                  <a16:creationId xmlns:a16="http://schemas.microsoft.com/office/drawing/2014/main" id="{C01880DC-5413-458D-A0DD-93C6908869C4}"/>
                </a:ext>
              </a:extLst>
            </p:cNvPr>
            <p:cNvSpPr>
              <a:spLocks/>
            </p:cNvSpPr>
            <p:nvPr/>
          </p:nvSpPr>
          <p:spPr>
            <a:xfrm>
              <a:off x="10366141" y="34789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9" name="Oval 248">
              <a:extLst>
                <a:ext uri="{FF2B5EF4-FFF2-40B4-BE49-F238E27FC236}">
                  <a16:creationId xmlns:a16="http://schemas.microsoft.com/office/drawing/2014/main" id="{E30E79B0-7B00-468D-B5B1-B52C624C0C68}"/>
                </a:ext>
              </a:extLst>
            </p:cNvPr>
            <p:cNvSpPr>
              <a:spLocks/>
            </p:cNvSpPr>
            <p:nvPr/>
          </p:nvSpPr>
          <p:spPr>
            <a:xfrm>
              <a:off x="9288305" y="32639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0" name="Oval 249">
              <a:extLst>
                <a:ext uri="{FF2B5EF4-FFF2-40B4-BE49-F238E27FC236}">
                  <a16:creationId xmlns:a16="http://schemas.microsoft.com/office/drawing/2014/main" id="{A827E60B-2A7D-4C4F-B2E4-C4D5F0815FC5}"/>
                </a:ext>
              </a:extLst>
            </p:cNvPr>
            <p:cNvSpPr>
              <a:spLocks/>
            </p:cNvSpPr>
            <p:nvPr/>
          </p:nvSpPr>
          <p:spPr>
            <a:xfrm>
              <a:off x="10149393" y="37118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1" name="Oval 250">
              <a:extLst>
                <a:ext uri="{FF2B5EF4-FFF2-40B4-BE49-F238E27FC236}">
                  <a16:creationId xmlns:a16="http://schemas.microsoft.com/office/drawing/2014/main" id="{F8AC0752-603E-4679-9130-75D4AC35A404}"/>
                </a:ext>
              </a:extLst>
            </p:cNvPr>
            <p:cNvSpPr>
              <a:spLocks/>
            </p:cNvSpPr>
            <p:nvPr/>
          </p:nvSpPr>
          <p:spPr>
            <a:xfrm>
              <a:off x="8890380" y="347467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2" name="Oval 251">
              <a:extLst>
                <a:ext uri="{FF2B5EF4-FFF2-40B4-BE49-F238E27FC236}">
                  <a16:creationId xmlns:a16="http://schemas.microsoft.com/office/drawing/2014/main" id="{B7FD3A7D-9FA7-4D3D-96DF-8E4CF6C9104C}"/>
                </a:ext>
              </a:extLst>
            </p:cNvPr>
            <p:cNvSpPr>
              <a:spLocks/>
            </p:cNvSpPr>
            <p:nvPr/>
          </p:nvSpPr>
          <p:spPr>
            <a:xfrm>
              <a:off x="8642499" y="351636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4" name="Oval 253">
              <a:extLst>
                <a:ext uri="{FF2B5EF4-FFF2-40B4-BE49-F238E27FC236}">
                  <a16:creationId xmlns:a16="http://schemas.microsoft.com/office/drawing/2014/main" id="{87B1718A-87B0-4C21-AEAE-52E1FB9C5EEB}"/>
                </a:ext>
              </a:extLst>
            </p:cNvPr>
            <p:cNvSpPr>
              <a:spLocks/>
            </p:cNvSpPr>
            <p:nvPr/>
          </p:nvSpPr>
          <p:spPr>
            <a:xfrm>
              <a:off x="8642947" y="3291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5" name="Oval 254">
              <a:extLst>
                <a:ext uri="{FF2B5EF4-FFF2-40B4-BE49-F238E27FC236}">
                  <a16:creationId xmlns:a16="http://schemas.microsoft.com/office/drawing/2014/main" id="{E2E79263-6ED1-4F6D-B7F3-F6C77EF02713}"/>
                </a:ext>
              </a:extLst>
            </p:cNvPr>
            <p:cNvSpPr>
              <a:spLocks/>
            </p:cNvSpPr>
            <p:nvPr/>
          </p:nvSpPr>
          <p:spPr>
            <a:xfrm>
              <a:off x="8596408" y="32150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6" name="Oval 255">
              <a:extLst>
                <a:ext uri="{FF2B5EF4-FFF2-40B4-BE49-F238E27FC236}">
                  <a16:creationId xmlns:a16="http://schemas.microsoft.com/office/drawing/2014/main" id="{55987078-D71D-436F-829C-67D55D257B48}"/>
                </a:ext>
              </a:extLst>
            </p:cNvPr>
            <p:cNvSpPr>
              <a:spLocks/>
            </p:cNvSpPr>
            <p:nvPr/>
          </p:nvSpPr>
          <p:spPr>
            <a:xfrm>
              <a:off x="8521864" y="35322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7" name="Oval 256">
              <a:extLst>
                <a:ext uri="{FF2B5EF4-FFF2-40B4-BE49-F238E27FC236}">
                  <a16:creationId xmlns:a16="http://schemas.microsoft.com/office/drawing/2014/main" id="{762FD97B-D10D-43A7-AF1F-EF2223B561E0}"/>
                </a:ext>
              </a:extLst>
            </p:cNvPr>
            <p:cNvSpPr>
              <a:spLocks/>
            </p:cNvSpPr>
            <p:nvPr/>
          </p:nvSpPr>
          <p:spPr>
            <a:xfrm>
              <a:off x="8481913" y="343204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8" name="Oval 257">
              <a:extLst>
                <a:ext uri="{FF2B5EF4-FFF2-40B4-BE49-F238E27FC236}">
                  <a16:creationId xmlns:a16="http://schemas.microsoft.com/office/drawing/2014/main" id="{7662F424-7361-4787-BE8B-2B5E6514D090}"/>
                </a:ext>
              </a:extLst>
            </p:cNvPr>
            <p:cNvSpPr>
              <a:spLocks/>
            </p:cNvSpPr>
            <p:nvPr/>
          </p:nvSpPr>
          <p:spPr>
            <a:xfrm>
              <a:off x="8544863" y="34515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9" name="Oval 258">
              <a:extLst>
                <a:ext uri="{FF2B5EF4-FFF2-40B4-BE49-F238E27FC236}">
                  <a16:creationId xmlns:a16="http://schemas.microsoft.com/office/drawing/2014/main" id="{57EEA5FF-74DE-44A2-988A-C47B2D517A33}"/>
                </a:ext>
              </a:extLst>
            </p:cNvPr>
            <p:cNvSpPr>
              <a:spLocks/>
            </p:cNvSpPr>
            <p:nvPr/>
          </p:nvSpPr>
          <p:spPr>
            <a:xfrm>
              <a:off x="8558343" y="33741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0" name="Oval 259">
              <a:extLst>
                <a:ext uri="{FF2B5EF4-FFF2-40B4-BE49-F238E27FC236}">
                  <a16:creationId xmlns:a16="http://schemas.microsoft.com/office/drawing/2014/main" id="{25DF0761-DEAC-456B-952E-F9BE6C2C9EC7}"/>
                </a:ext>
              </a:extLst>
            </p:cNvPr>
            <p:cNvSpPr>
              <a:spLocks/>
            </p:cNvSpPr>
            <p:nvPr/>
          </p:nvSpPr>
          <p:spPr>
            <a:xfrm>
              <a:off x="8409840" y="34082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1" name="Oval 260">
              <a:extLst>
                <a:ext uri="{FF2B5EF4-FFF2-40B4-BE49-F238E27FC236}">
                  <a16:creationId xmlns:a16="http://schemas.microsoft.com/office/drawing/2014/main" id="{FBA04D20-27A3-4F99-9B77-D0362F260DA7}"/>
                </a:ext>
              </a:extLst>
            </p:cNvPr>
            <p:cNvSpPr>
              <a:spLocks/>
            </p:cNvSpPr>
            <p:nvPr/>
          </p:nvSpPr>
          <p:spPr>
            <a:xfrm>
              <a:off x="8402682" y="33232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2" name="Oval 261">
              <a:extLst>
                <a:ext uri="{FF2B5EF4-FFF2-40B4-BE49-F238E27FC236}">
                  <a16:creationId xmlns:a16="http://schemas.microsoft.com/office/drawing/2014/main" id="{9B82D903-5915-4642-9A08-92D90EF2728A}"/>
                </a:ext>
              </a:extLst>
            </p:cNvPr>
            <p:cNvSpPr>
              <a:spLocks/>
            </p:cNvSpPr>
            <p:nvPr/>
          </p:nvSpPr>
          <p:spPr>
            <a:xfrm>
              <a:off x="8376018" y="32660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3" name="Oval 262">
              <a:extLst>
                <a:ext uri="{FF2B5EF4-FFF2-40B4-BE49-F238E27FC236}">
                  <a16:creationId xmlns:a16="http://schemas.microsoft.com/office/drawing/2014/main" id="{A46FE976-C332-4C66-AFE0-3181AB52C240}"/>
                </a:ext>
              </a:extLst>
            </p:cNvPr>
            <p:cNvSpPr>
              <a:spLocks/>
            </p:cNvSpPr>
            <p:nvPr/>
          </p:nvSpPr>
          <p:spPr>
            <a:xfrm>
              <a:off x="8480075" y="31283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4" name="Oval 263">
              <a:extLst>
                <a:ext uri="{FF2B5EF4-FFF2-40B4-BE49-F238E27FC236}">
                  <a16:creationId xmlns:a16="http://schemas.microsoft.com/office/drawing/2014/main" id="{BC4EBDCE-39C6-4489-A4BD-AB0C89659DBF}"/>
                </a:ext>
              </a:extLst>
            </p:cNvPr>
            <p:cNvSpPr>
              <a:spLocks/>
            </p:cNvSpPr>
            <p:nvPr/>
          </p:nvSpPr>
          <p:spPr>
            <a:xfrm>
              <a:off x="8505832" y="291741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5" name="Oval 264">
              <a:extLst>
                <a:ext uri="{FF2B5EF4-FFF2-40B4-BE49-F238E27FC236}">
                  <a16:creationId xmlns:a16="http://schemas.microsoft.com/office/drawing/2014/main" id="{A0518545-7AE0-446D-A141-3C0E9D7612AA}"/>
                </a:ext>
              </a:extLst>
            </p:cNvPr>
            <p:cNvSpPr>
              <a:spLocks/>
            </p:cNvSpPr>
            <p:nvPr/>
          </p:nvSpPr>
          <p:spPr>
            <a:xfrm>
              <a:off x="8317306" y="295912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6" name="Oval 265">
              <a:extLst>
                <a:ext uri="{FF2B5EF4-FFF2-40B4-BE49-F238E27FC236}">
                  <a16:creationId xmlns:a16="http://schemas.microsoft.com/office/drawing/2014/main" id="{85058413-6D0F-4580-B978-820C19FBFE09}"/>
                </a:ext>
              </a:extLst>
            </p:cNvPr>
            <p:cNvSpPr>
              <a:spLocks/>
            </p:cNvSpPr>
            <p:nvPr/>
          </p:nvSpPr>
          <p:spPr>
            <a:xfrm>
              <a:off x="8225734" y="29669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7" name="Oval 266">
              <a:extLst>
                <a:ext uri="{FF2B5EF4-FFF2-40B4-BE49-F238E27FC236}">
                  <a16:creationId xmlns:a16="http://schemas.microsoft.com/office/drawing/2014/main" id="{8AD07BDA-C65B-4297-A11D-9B1B587A3771}"/>
                </a:ext>
              </a:extLst>
            </p:cNvPr>
            <p:cNvSpPr>
              <a:spLocks/>
            </p:cNvSpPr>
            <p:nvPr/>
          </p:nvSpPr>
          <p:spPr>
            <a:xfrm>
              <a:off x="8533285" y="30311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8" name="Oval 267">
              <a:extLst>
                <a:ext uri="{FF2B5EF4-FFF2-40B4-BE49-F238E27FC236}">
                  <a16:creationId xmlns:a16="http://schemas.microsoft.com/office/drawing/2014/main" id="{18B1E1D2-E91F-4FAB-89A6-5F319C93296F}"/>
                </a:ext>
              </a:extLst>
            </p:cNvPr>
            <p:cNvSpPr>
              <a:spLocks/>
            </p:cNvSpPr>
            <p:nvPr/>
          </p:nvSpPr>
          <p:spPr>
            <a:xfrm>
              <a:off x="8399196" y="318161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69" name="Straight Arrow Connector 268">
              <a:extLst>
                <a:ext uri="{FF2B5EF4-FFF2-40B4-BE49-F238E27FC236}">
                  <a16:creationId xmlns:a16="http://schemas.microsoft.com/office/drawing/2014/main" id="{6A0D5AA0-FFF3-436F-BF5C-7A148B4BA988}"/>
                </a:ext>
              </a:extLst>
            </p:cNvPr>
            <p:cNvCxnSpPr>
              <a:cxnSpLocks/>
              <a:stCxn id="271" idx="3"/>
              <a:endCxn id="198" idx="7"/>
            </p:cNvCxnSpPr>
            <p:nvPr/>
          </p:nvCxnSpPr>
          <p:spPr>
            <a:xfrm flipH="1">
              <a:off x="8321818" y="2374953"/>
              <a:ext cx="1530450" cy="817962"/>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3DC091E0-B912-44C6-BD06-E9D5F8C4CC03}"/>
                </a:ext>
              </a:extLst>
            </p:cNvPr>
            <p:cNvCxnSpPr>
              <a:cxnSpLocks/>
              <a:stCxn id="271" idx="3"/>
              <a:endCxn id="202" idx="7"/>
            </p:cNvCxnSpPr>
            <p:nvPr/>
          </p:nvCxnSpPr>
          <p:spPr>
            <a:xfrm flipH="1">
              <a:off x="8289027" y="2374954"/>
              <a:ext cx="1563241" cy="964316"/>
            </a:xfrm>
            <a:prstGeom prst="straightConnector1">
              <a:avLst/>
            </a:prstGeom>
            <a:solidFill>
              <a:schemeClr val="accent5"/>
            </a:solidFill>
            <a:ln>
              <a:solidFill>
                <a:srgbClr val="0F9CD8"/>
              </a:solidFill>
            </a:ln>
            <a:effectLst/>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789410A-1FFB-47F2-A08A-6486D88AA594}"/>
                </a:ext>
              </a:extLst>
            </p:cNvPr>
            <p:cNvSpPr>
              <a:spLocks/>
            </p:cNvSpPr>
            <p:nvPr/>
          </p:nvSpPr>
          <p:spPr>
            <a:xfrm>
              <a:off x="9739387" y="1717035"/>
              <a:ext cx="770798" cy="770798"/>
            </a:xfrm>
            <a:prstGeom prst="ellipse">
              <a:avLst/>
            </a:prstGeom>
            <a:blipFill dpi="0" rotWithShape="1">
              <a:blip r:embed="rId19" cstate="screen">
                <a:duotone>
                  <a:schemeClr val="bg2">
                    <a:shade val="45000"/>
                    <a:satMod val="135000"/>
                  </a:schemeClr>
                  <a:prstClr val="white"/>
                </a:duotone>
                <a:extLst>
                  <a:ext uri="{BEBA8EAE-BF5A-486C-A8C5-ECC9F3942E4B}">
                    <a14:imgProps xmlns:a14="http://schemas.microsoft.com/office/drawing/2010/main">
                      <a14:imgLayer r:embed="rId20">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ACH</a:t>
              </a:r>
              <a:endParaRPr lang="en-US" sz="1200" b="1">
                <a:solidFill>
                  <a:schemeClr val="tx2"/>
                </a:solidFill>
                <a:latin typeface="+mj-lt"/>
              </a:endParaRPr>
            </a:p>
          </p:txBody>
        </p:sp>
        <p:cxnSp>
          <p:nvCxnSpPr>
            <p:cNvPr id="272" name="Straight Arrow Connector 271">
              <a:extLst>
                <a:ext uri="{FF2B5EF4-FFF2-40B4-BE49-F238E27FC236}">
                  <a16:creationId xmlns:a16="http://schemas.microsoft.com/office/drawing/2014/main" id="{1B8BC023-5FF2-4990-90F8-54427C7F0471}"/>
                </a:ext>
              </a:extLst>
            </p:cNvPr>
            <p:cNvCxnSpPr>
              <a:cxnSpLocks/>
              <a:stCxn id="271" idx="3"/>
              <a:endCxn id="201" idx="7"/>
            </p:cNvCxnSpPr>
            <p:nvPr/>
          </p:nvCxnSpPr>
          <p:spPr>
            <a:xfrm flipH="1">
              <a:off x="8339883" y="2374953"/>
              <a:ext cx="1512385" cy="88014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1A99D9C5-F308-4572-9423-262B79AA1958}"/>
                </a:ext>
              </a:extLst>
            </p:cNvPr>
            <p:cNvSpPr>
              <a:spLocks/>
            </p:cNvSpPr>
            <p:nvPr/>
          </p:nvSpPr>
          <p:spPr>
            <a:xfrm>
              <a:off x="10563151" y="34865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4" name="Oval 273">
              <a:extLst>
                <a:ext uri="{FF2B5EF4-FFF2-40B4-BE49-F238E27FC236}">
                  <a16:creationId xmlns:a16="http://schemas.microsoft.com/office/drawing/2014/main" id="{FABEE802-05E7-445D-9D5A-5215C2C0F7EC}"/>
                </a:ext>
              </a:extLst>
            </p:cNvPr>
            <p:cNvSpPr>
              <a:spLocks/>
            </p:cNvSpPr>
            <p:nvPr/>
          </p:nvSpPr>
          <p:spPr>
            <a:xfrm>
              <a:off x="10054212" y="40426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5" name="Oval 274">
              <a:extLst>
                <a:ext uri="{FF2B5EF4-FFF2-40B4-BE49-F238E27FC236}">
                  <a16:creationId xmlns:a16="http://schemas.microsoft.com/office/drawing/2014/main" id="{DBFB1C5C-A7B1-4D9A-B61C-6E999BBDB904}"/>
                </a:ext>
              </a:extLst>
            </p:cNvPr>
            <p:cNvSpPr>
              <a:spLocks/>
            </p:cNvSpPr>
            <p:nvPr/>
          </p:nvSpPr>
          <p:spPr>
            <a:xfrm>
              <a:off x="7821303" y="285089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6" name="Oval 275">
              <a:extLst>
                <a:ext uri="{FF2B5EF4-FFF2-40B4-BE49-F238E27FC236}">
                  <a16:creationId xmlns:a16="http://schemas.microsoft.com/office/drawing/2014/main" id="{555D267A-5434-4323-A2C9-C2851943EFD8}"/>
                </a:ext>
              </a:extLst>
            </p:cNvPr>
            <p:cNvSpPr>
              <a:spLocks/>
            </p:cNvSpPr>
            <p:nvPr/>
          </p:nvSpPr>
          <p:spPr>
            <a:xfrm>
              <a:off x="8219004" y="32250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7" name="Oval 276">
              <a:extLst>
                <a:ext uri="{FF2B5EF4-FFF2-40B4-BE49-F238E27FC236}">
                  <a16:creationId xmlns:a16="http://schemas.microsoft.com/office/drawing/2014/main" id="{416030DE-A544-4110-81AD-FCA7610F2101}"/>
                </a:ext>
              </a:extLst>
            </p:cNvPr>
            <p:cNvSpPr>
              <a:spLocks/>
            </p:cNvSpPr>
            <p:nvPr/>
          </p:nvSpPr>
          <p:spPr>
            <a:xfrm>
              <a:off x="8197629" y="337979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8" name="Oval 277">
              <a:extLst>
                <a:ext uri="{FF2B5EF4-FFF2-40B4-BE49-F238E27FC236}">
                  <a16:creationId xmlns:a16="http://schemas.microsoft.com/office/drawing/2014/main" id="{31559196-1DBF-4D39-9B14-F5D6FEEA5BC2}"/>
                </a:ext>
              </a:extLst>
            </p:cNvPr>
            <p:cNvSpPr>
              <a:spLocks/>
            </p:cNvSpPr>
            <p:nvPr/>
          </p:nvSpPr>
          <p:spPr>
            <a:xfrm>
              <a:off x="8218158" y="339486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9" name="Oval 278">
              <a:extLst>
                <a:ext uri="{FF2B5EF4-FFF2-40B4-BE49-F238E27FC236}">
                  <a16:creationId xmlns:a16="http://schemas.microsoft.com/office/drawing/2014/main" id="{E674C726-B8F5-4170-A9B1-93F797D23ED4}"/>
                </a:ext>
              </a:extLst>
            </p:cNvPr>
            <p:cNvSpPr>
              <a:spLocks/>
            </p:cNvSpPr>
            <p:nvPr/>
          </p:nvSpPr>
          <p:spPr>
            <a:xfrm>
              <a:off x="8165769" y="3318961"/>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80" name="Oval 279">
              <a:extLst>
                <a:ext uri="{FF2B5EF4-FFF2-40B4-BE49-F238E27FC236}">
                  <a16:creationId xmlns:a16="http://schemas.microsoft.com/office/drawing/2014/main" id="{93FD2F21-516A-472B-B29B-F27C142DA27F}"/>
                </a:ext>
              </a:extLst>
            </p:cNvPr>
            <p:cNvSpPr>
              <a:spLocks/>
            </p:cNvSpPr>
            <p:nvPr/>
          </p:nvSpPr>
          <p:spPr>
            <a:xfrm>
              <a:off x="8036904" y="4929217"/>
              <a:ext cx="770798" cy="770798"/>
            </a:xfrm>
            <a:prstGeom prst="ellipse">
              <a:avLst/>
            </a:prstGeom>
            <a:blipFill dpi="0" rotWithShape="1">
              <a:blip r:embed="rId21" cstate="screen">
                <a:duotone>
                  <a:schemeClr val="bg2">
                    <a:shade val="45000"/>
                    <a:satMod val="135000"/>
                  </a:schemeClr>
                  <a:prstClr val="white"/>
                </a:duotone>
                <a:extLst>
                  <a:ext uri="{BEBA8EAE-BF5A-486C-A8C5-ECC9F3942E4B}">
                    <a14:imgProps xmlns:a14="http://schemas.microsoft.com/office/drawing/2010/main">
                      <a14:imgLayer r:embed="rId22">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France</a:t>
              </a:r>
              <a:endParaRPr lang="en-US" sz="1200" b="1">
                <a:solidFill>
                  <a:schemeClr val="tx2"/>
                </a:solidFill>
                <a:latin typeface="+mj-lt"/>
              </a:endParaRPr>
            </a:p>
          </p:txBody>
        </p:sp>
        <p:cxnSp>
          <p:nvCxnSpPr>
            <p:cNvPr id="299" name="Straight Arrow Connector 298">
              <a:extLst>
                <a:ext uri="{FF2B5EF4-FFF2-40B4-BE49-F238E27FC236}">
                  <a16:creationId xmlns:a16="http://schemas.microsoft.com/office/drawing/2014/main" id="{50E84FB1-2F74-4449-AEE3-D34AAAF130B7}"/>
                </a:ext>
              </a:extLst>
            </p:cNvPr>
            <p:cNvCxnSpPr>
              <a:cxnSpLocks/>
            </p:cNvCxnSpPr>
            <p:nvPr/>
          </p:nvCxnSpPr>
          <p:spPr>
            <a:xfrm flipV="1">
              <a:off x="5772132" y="3581686"/>
              <a:ext cx="1001688" cy="216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2A058EAA-DCED-4926-8543-D7F214F7CAED}"/>
                </a:ext>
              </a:extLst>
            </p:cNvPr>
            <p:cNvSpPr>
              <a:spLocks/>
            </p:cNvSpPr>
            <p:nvPr/>
          </p:nvSpPr>
          <p:spPr>
            <a:xfrm>
              <a:off x="5243840" y="3263928"/>
              <a:ext cx="770798" cy="770798"/>
            </a:xfrm>
            <a:prstGeom prst="ellipse">
              <a:avLst/>
            </a:prstGeom>
            <a:blipFill dpi="0" rotWithShape="1">
              <a:blip r:embed="rId23" cstate="screen">
                <a:duotone>
                  <a:schemeClr val="bg2">
                    <a:shade val="45000"/>
                    <a:satMod val="135000"/>
                  </a:schemeClr>
                  <a:prstClr val="white"/>
                </a:duotone>
                <a:extLst>
                  <a:ext uri="{BEBA8EAE-BF5A-486C-A8C5-ECC9F3942E4B}">
                    <a14:imgProps xmlns:a14="http://schemas.microsoft.com/office/drawing/2010/main">
                      <a14:imgLayer r:embed="rId24">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p>
            <a:p>
              <a:pPr algn="ctr" defTabSz="548640">
                <a:defRPr/>
              </a:pPr>
              <a:r>
                <a:rPr lang="en-US" sz="840" b="1">
                  <a:solidFill>
                    <a:schemeClr val="tx2"/>
                  </a:solidFill>
                  <a:latin typeface="+mj-lt"/>
                </a:rPr>
                <a:t>USA</a:t>
              </a:r>
              <a:endParaRPr lang="en-US" sz="1200" b="1">
                <a:solidFill>
                  <a:schemeClr val="tx2"/>
                </a:solidFill>
                <a:latin typeface="+mj-lt"/>
              </a:endParaRPr>
            </a:p>
          </p:txBody>
        </p:sp>
        <p:sp>
          <p:nvSpPr>
            <p:cNvPr id="298" name="Oval 297">
              <a:extLst>
                <a:ext uri="{FF2B5EF4-FFF2-40B4-BE49-F238E27FC236}">
                  <a16:creationId xmlns:a16="http://schemas.microsoft.com/office/drawing/2014/main" id="{06BD2D93-4746-418E-A4A4-6893A36EA46B}"/>
                </a:ext>
              </a:extLst>
            </p:cNvPr>
            <p:cNvSpPr>
              <a:spLocks/>
            </p:cNvSpPr>
            <p:nvPr/>
          </p:nvSpPr>
          <p:spPr>
            <a:xfrm>
              <a:off x="6747375" y="354735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4" name="Oval 3">
              <a:extLst>
                <a:ext uri="{FF2B5EF4-FFF2-40B4-BE49-F238E27FC236}">
                  <a16:creationId xmlns:a16="http://schemas.microsoft.com/office/drawing/2014/main" id="{C4990021-F6BA-38B3-BB60-0FC52C072755}"/>
                </a:ext>
              </a:extLst>
            </p:cNvPr>
            <p:cNvSpPr>
              <a:spLocks/>
            </p:cNvSpPr>
            <p:nvPr/>
          </p:nvSpPr>
          <p:spPr>
            <a:xfrm>
              <a:off x="9993973" y="4219878"/>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5" name="Oval 4">
              <a:extLst>
                <a:ext uri="{FF2B5EF4-FFF2-40B4-BE49-F238E27FC236}">
                  <a16:creationId xmlns:a16="http://schemas.microsoft.com/office/drawing/2014/main" id="{E9B4AF08-5693-038D-F625-0DB7A04E0D65}"/>
                </a:ext>
              </a:extLst>
            </p:cNvPr>
            <p:cNvSpPr>
              <a:spLocks/>
            </p:cNvSpPr>
            <p:nvPr/>
          </p:nvSpPr>
          <p:spPr>
            <a:xfrm>
              <a:off x="10581595" y="4135424"/>
              <a:ext cx="770798" cy="770798"/>
            </a:xfrm>
            <a:prstGeom prst="ellipse">
              <a:avLst/>
            </a:prstGeom>
            <a:blipFill dpi="0" rotWithShape="1">
              <a:blip r:embed="rId15" cstate="screen">
                <a:duotone>
                  <a:schemeClr val="bg2">
                    <a:shade val="45000"/>
                    <a:satMod val="135000"/>
                  </a:schemeClr>
                  <a:prstClr val="white"/>
                </a:duotone>
                <a:extLst>
                  <a:ext uri="{BEBA8EAE-BF5A-486C-A8C5-ECC9F3942E4B}">
                    <a14:imgProps xmlns:a14="http://schemas.microsoft.com/office/drawing/2010/main">
                      <a14:imgLayer r:embed="rId16">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r>
                <a:rPr lang="en-US" sz="720" b="1">
                  <a:solidFill>
                    <a:schemeClr val="tx2"/>
                  </a:solidFill>
                  <a:latin typeface="+mj-lt"/>
                </a:rPr>
                <a:t>Singapore</a:t>
              </a:r>
            </a:p>
          </p:txBody>
        </p:sp>
        <p:cxnSp>
          <p:nvCxnSpPr>
            <p:cNvPr id="8" name="Straight Arrow Connector 7">
              <a:extLst>
                <a:ext uri="{FF2B5EF4-FFF2-40B4-BE49-F238E27FC236}">
                  <a16:creationId xmlns:a16="http://schemas.microsoft.com/office/drawing/2014/main" id="{D44887D9-7926-02EF-1DE0-8F4B25818C1D}"/>
                </a:ext>
              </a:extLst>
            </p:cNvPr>
            <p:cNvCxnSpPr>
              <a:cxnSpLocks/>
            </p:cNvCxnSpPr>
            <p:nvPr/>
          </p:nvCxnSpPr>
          <p:spPr>
            <a:xfrm>
              <a:off x="10030522" y="4243519"/>
              <a:ext cx="689386" cy="1740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grpSp>
      <p:sp>
        <p:nvSpPr>
          <p:cNvPr id="21" name="Oval 20">
            <a:extLst>
              <a:ext uri="{FF2B5EF4-FFF2-40B4-BE49-F238E27FC236}">
                <a16:creationId xmlns:a16="http://schemas.microsoft.com/office/drawing/2014/main" id="{71FFCA9B-2E12-C562-23E5-BD82AB149472}"/>
              </a:ext>
            </a:extLst>
          </p:cNvPr>
          <p:cNvSpPr/>
          <p:nvPr/>
        </p:nvSpPr>
        <p:spPr>
          <a:xfrm>
            <a:off x="10041352" y="6323414"/>
            <a:ext cx="131129" cy="13112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 name="Rectangle 21">
            <a:extLst>
              <a:ext uri="{FF2B5EF4-FFF2-40B4-BE49-F238E27FC236}">
                <a16:creationId xmlns:a16="http://schemas.microsoft.com/office/drawing/2014/main" id="{1E669430-0C07-FCEF-EB21-FF4B2CF4F6DB}"/>
              </a:ext>
            </a:extLst>
          </p:cNvPr>
          <p:cNvSpPr/>
          <p:nvPr/>
        </p:nvSpPr>
        <p:spPr>
          <a:xfrm>
            <a:off x="10135497" y="6280194"/>
            <a:ext cx="1524515" cy="203133"/>
          </a:xfrm>
          <a:prstGeom prst="rect">
            <a:avLst/>
          </a:prstGeom>
        </p:spPr>
        <p:txBody>
          <a:bodyPr wrap="square">
            <a:spAutoFit/>
          </a:bodyPr>
          <a:lstStyle/>
          <a:p>
            <a:pPr marL="0" lvl="1" defTabSz="548640">
              <a:spcBef>
                <a:spcPts val="720"/>
              </a:spcBef>
              <a:defRPr/>
            </a:pPr>
            <a:r>
              <a:rPr lang="en-US" sz="720" dirty="0">
                <a:solidFill>
                  <a:schemeClr val="bg1"/>
                </a:solidFill>
                <a:latin typeface="+mj-lt"/>
              </a:rPr>
              <a:t>Ellab offices</a:t>
            </a:r>
          </a:p>
        </p:txBody>
      </p:sp>
      <p:sp>
        <p:nvSpPr>
          <p:cNvPr id="23" name="Oval 22">
            <a:extLst>
              <a:ext uri="{FF2B5EF4-FFF2-40B4-BE49-F238E27FC236}">
                <a16:creationId xmlns:a16="http://schemas.microsoft.com/office/drawing/2014/main" id="{30CBBF24-9ACE-49E2-98A1-2D78CD2DF7E6}"/>
              </a:ext>
            </a:extLst>
          </p:cNvPr>
          <p:cNvSpPr/>
          <p:nvPr/>
        </p:nvSpPr>
        <p:spPr>
          <a:xfrm>
            <a:off x="8972153" y="3731819"/>
            <a:ext cx="68958" cy="68958"/>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Tree>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669A8-2D81-C657-20AF-A8A67ECDE3E2}"/>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8015A2A6-B64E-1226-725F-1427D8B8CF21}"/>
              </a:ext>
            </a:extLst>
          </p:cNvPr>
          <p:cNvSpPr/>
          <p:nvPr/>
        </p:nvSpPr>
        <p:spPr>
          <a:xfrm>
            <a:off x="5645020" y="0"/>
            <a:ext cx="6546980" cy="6857998"/>
          </a:xfrm>
          <a:prstGeom prst="rect">
            <a:avLst/>
          </a:prstGeom>
          <a:solidFill>
            <a:schemeClr val="tx2"/>
          </a:solidFill>
          <a:ln>
            <a:noFill/>
          </a:ln>
          <a:effectLst>
            <a:outerShdw blurRad="812800" dir="8340000" algn="tl" rotWithShape="0">
              <a:schemeClr val="accent1">
                <a:alpha val="69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A9BACC-15B9-7663-718A-E87106F8A56D}"/>
              </a:ext>
            </a:extLst>
          </p:cNvPr>
          <p:cNvSpPr/>
          <p:nvPr/>
        </p:nvSpPr>
        <p:spPr>
          <a:xfrm>
            <a:off x="0" y="2158022"/>
            <a:ext cx="6242180" cy="2262216"/>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48B8BAB-D87E-3886-0DE1-0738B7A40480}"/>
              </a:ext>
            </a:extLst>
          </p:cNvPr>
          <p:cNvSpPr>
            <a:spLocks noGrp="1"/>
          </p:cNvSpPr>
          <p:nvPr>
            <p:ph type="title"/>
          </p:nvPr>
        </p:nvSpPr>
        <p:spPr>
          <a:xfrm>
            <a:off x="1172636" y="2379310"/>
            <a:ext cx="5232225" cy="1049690"/>
          </a:xfrm>
        </p:spPr>
        <p:txBody>
          <a:bodyPr/>
          <a:lstStyle/>
          <a:p>
            <a:r>
              <a:rPr lang="en-GB">
                <a:solidFill>
                  <a:schemeClr val="tx2"/>
                </a:solidFill>
              </a:rPr>
              <a:t>End</a:t>
            </a:r>
            <a:r>
              <a:rPr lang="en-GB"/>
              <a:t>	           </a:t>
            </a:r>
            <a:r>
              <a:rPr lang="en-GB">
                <a:solidFill>
                  <a:schemeClr val="tx2"/>
                </a:solidFill>
              </a:rPr>
              <a:t>to</a:t>
            </a:r>
            <a:r>
              <a:rPr lang="en-GB"/>
              <a:t>		   </a:t>
            </a:r>
            <a:r>
              <a:rPr lang="en-GB">
                <a:solidFill>
                  <a:schemeClr val="tx2"/>
                </a:solidFill>
              </a:rPr>
              <a:t>End</a:t>
            </a:r>
            <a:r>
              <a:rPr lang="en-GB"/>
              <a:t> </a:t>
            </a:r>
            <a:br>
              <a:rPr lang="en-GB"/>
            </a:br>
            <a:r>
              <a:rPr lang="en-GB">
                <a:solidFill>
                  <a:schemeClr val="accent1"/>
                </a:solidFill>
              </a:rPr>
              <a:t>Compliance Solutions</a:t>
            </a:r>
            <a:endParaRPr lang="da-DK">
              <a:solidFill>
                <a:schemeClr val="accent1"/>
              </a:solidFill>
            </a:endParaRPr>
          </a:p>
        </p:txBody>
      </p:sp>
      <p:sp>
        <p:nvSpPr>
          <p:cNvPr id="16" name="Content Placeholder 4">
            <a:extLst>
              <a:ext uri="{FF2B5EF4-FFF2-40B4-BE49-F238E27FC236}">
                <a16:creationId xmlns:a16="http://schemas.microsoft.com/office/drawing/2014/main" id="{46EE1943-9CBD-553E-7823-E85BE45F161A}"/>
              </a:ext>
            </a:extLst>
          </p:cNvPr>
          <p:cNvSpPr txBox="1">
            <a:spLocks/>
          </p:cNvSpPr>
          <p:nvPr/>
        </p:nvSpPr>
        <p:spPr bwMode="auto">
          <a:xfrm>
            <a:off x="6678692" y="3679902"/>
            <a:ext cx="4846698" cy="39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400">
                <a:solidFill>
                  <a:schemeClr val="bg2"/>
                </a:solidFill>
              </a:rPr>
              <a:t>However </a:t>
            </a:r>
            <a:r>
              <a:rPr lang="en-GB" sz="2400">
                <a:solidFill>
                  <a:schemeClr val="accent1"/>
                </a:solidFill>
              </a:rPr>
              <a:t>you need it…</a:t>
            </a:r>
            <a:endParaRPr lang="en-GB">
              <a:solidFill>
                <a:schemeClr val="accent1"/>
              </a:solidFill>
            </a:endParaRPr>
          </a:p>
        </p:txBody>
      </p:sp>
      <p:sp>
        <p:nvSpPr>
          <p:cNvPr id="17" name="Rectangle: Rounded Corners 16">
            <a:extLst>
              <a:ext uri="{FF2B5EF4-FFF2-40B4-BE49-F238E27FC236}">
                <a16:creationId xmlns:a16="http://schemas.microsoft.com/office/drawing/2014/main" id="{5931EFD6-6AC0-E0AC-8915-CF83EA26F0A9}"/>
              </a:ext>
            </a:extLst>
          </p:cNvPr>
          <p:cNvSpPr/>
          <p:nvPr/>
        </p:nvSpPr>
        <p:spPr>
          <a:xfrm>
            <a:off x="6678693" y="4207210"/>
            <a:ext cx="1989446" cy="751662"/>
          </a:xfrm>
          <a:prstGeom prst="roundRect">
            <a:avLst>
              <a:gd name="adj" fmla="val 3724"/>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Equipment</a:t>
            </a:r>
          </a:p>
          <a:p>
            <a:pPr algn="ct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Purchase, rent, or lease</a:t>
            </a:r>
          </a:p>
        </p:txBody>
      </p:sp>
      <p:sp>
        <p:nvSpPr>
          <p:cNvPr id="10" name="Rectangle: Rounded Corners 9">
            <a:extLst>
              <a:ext uri="{FF2B5EF4-FFF2-40B4-BE49-F238E27FC236}">
                <a16:creationId xmlns:a16="http://schemas.microsoft.com/office/drawing/2014/main" id="{62F7A03D-B35F-6654-4A5B-57124FE70CAD}"/>
              </a:ext>
            </a:extLst>
          </p:cNvPr>
          <p:cNvSpPr/>
          <p:nvPr/>
        </p:nvSpPr>
        <p:spPr>
          <a:xfrm>
            <a:off x="8736188" y="5095854"/>
            <a:ext cx="2222069" cy="733923"/>
          </a:xfrm>
          <a:prstGeom prst="roundRect">
            <a:avLst>
              <a:gd name="adj" fmla="val 6357"/>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Residency/Staffing</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Full or part-time</a:t>
            </a:r>
          </a:p>
        </p:txBody>
      </p:sp>
      <p:sp>
        <p:nvSpPr>
          <p:cNvPr id="13" name="Rectangle: Rounded Corners 12">
            <a:extLst>
              <a:ext uri="{FF2B5EF4-FFF2-40B4-BE49-F238E27FC236}">
                <a16:creationId xmlns:a16="http://schemas.microsoft.com/office/drawing/2014/main" id="{811BC6D3-BB5E-B312-8B3B-4574038FA294}"/>
              </a:ext>
            </a:extLst>
          </p:cNvPr>
          <p:cNvSpPr/>
          <p:nvPr/>
        </p:nvSpPr>
        <p:spPr>
          <a:xfrm>
            <a:off x="6678691" y="5949020"/>
            <a:ext cx="4279565" cy="751662"/>
          </a:xfrm>
          <a:prstGeom prst="roundRect">
            <a:avLst>
              <a:gd name="adj" fmla="val 4965"/>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Managed Services </a:t>
            </a:r>
          </a:p>
          <a:p>
            <a:pPr algn="ct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Complete or partial support</a:t>
            </a:r>
          </a:p>
        </p:txBody>
      </p:sp>
      <p:sp>
        <p:nvSpPr>
          <p:cNvPr id="21" name="Rectangle: Rounded Corners 20">
            <a:extLst>
              <a:ext uri="{FF2B5EF4-FFF2-40B4-BE49-F238E27FC236}">
                <a16:creationId xmlns:a16="http://schemas.microsoft.com/office/drawing/2014/main" id="{F6D5D210-55E0-FC7E-DE36-B716ACB54B12}"/>
              </a:ext>
            </a:extLst>
          </p:cNvPr>
          <p:cNvSpPr/>
          <p:nvPr/>
        </p:nvSpPr>
        <p:spPr>
          <a:xfrm>
            <a:off x="8736188" y="4207210"/>
            <a:ext cx="2222068" cy="751662"/>
          </a:xfrm>
          <a:prstGeom prst="roundRect">
            <a:avLst>
              <a:gd name="adj" fmla="val 4965"/>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Consulting</a:t>
            </a:r>
            <a:br>
              <a:rPr lang="en-US" sz="1600" b="1">
                <a:solidFill>
                  <a:schemeClr val="bg2"/>
                </a:solidFill>
                <a:latin typeface="+mj-lt"/>
                <a:ea typeface="Ellab Sans Light" panose="02000403000000020004" pitchFamily="2" charset="0"/>
                <a:cs typeface="Ellab Sans Light" panose="02000403000000020004" pitchFamily="2" charset="0"/>
              </a:rPr>
            </a:b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GxP consulting and process engineering</a:t>
            </a:r>
          </a:p>
        </p:txBody>
      </p:sp>
      <p:sp>
        <p:nvSpPr>
          <p:cNvPr id="22" name="Rectangle: Rounded Corners 21">
            <a:extLst>
              <a:ext uri="{FF2B5EF4-FFF2-40B4-BE49-F238E27FC236}">
                <a16:creationId xmlns:a16="http://schemas.microsoft.com/office/drawing/2014/main" id="{882CD9C9-F4E7-FD09-F9AC-62B6F1B0CB1F}"/>
              </a:ext>
            </a:extLst>
          </p:cNvPr>
          <p:cNvSpPr/>
          <p:nvPr/>
        </p:nvSpPr>
        <p:spPr>
          <a:xfrm>
            <a:off x="6678692" y="5078115"/>
            <a:ext cx="1989446" cy="751662"/>
          </a:xfrm>
          <a:prstGeom prst="roundRect">
            <a:avLst>
              <a:gd name="adj" fmla="val 6207"/>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Calibrations </a:t>
            </a:r>
            <a:br>
              <a:rPr lang="en-US" sz="1600" b="1">
                <a:solidFill>
                  <a:schemeClr val="bg2"/>
                </a:solidFill>
                <a:latin typeface="+mj-lt"/>
                <a:ea typeface="Ellab Sans Light" panose="02000403000000020004" pitchFamily="2" charset="0"/>
                <a:cs typeface="Ellab Sans Light" panose="02000403000000020004" pitchFamily="2" charset="0"/>
              </a:rPr>
            </a:b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On-site or in-lab</a:t>
            </a:r>
          </a:p>
        </p:txBody>
      </p:sp>
      <p:sp>
        <p:nvSpPr>
          <p:cNvPr id="4" name="Content Placeholder 3">
            <a:extLst>
              <a:ext uri="{FF2B5EF4-FFF2-40B4-BE49-F238E27FC236}">
                <a16:creationId xmlns:a16="http://schemas.microsoft.com/office/drawing/2014/main" id="{79777508-8A2B-1290-E56D-CB1D4BA04CF0}"/>
              </a:ext>
            </a:extLst>
          </p:cNvPr>
          <p:cNvSpPr>
            <a:spLocks noGrp="1"/>
          </p:cNvSpPr>
          <p:nvPr>
            <p:ph type="body" sz="half" idx="2"/>
          </p:nvPr>
        </p:nvSpPr>
        <p:spPr>
          <a:xfrm>
            <a:off x="6678692" y="667598"/>
            <a:ext cx="3336517" cy="447393"/>
          </a:xfrm>
        </p:spPr>
        <p: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2400" b="1" i="0" u="none" strike="noStrike" kern="1200" cap="none" spc="0" normalizeH="0" baseline="0" noProof="0">
                <a:ln>
                  <a:noFill/>
                </a:ln>
                <a:solidFill>
                  <a:schemeClr val="bg2"/>
                </a:solidFill>
                <a:effectLst/>
                <a:uLnTx/>
                <a:uFillTx/>
                <a:latin typeface="Ellab Sans"/>
                <a:ea typeface="Ellab Sans" panose="02000503000000020004" pitchFamily="2" charset="0"/>
              </a:rPr>
              <a:t>Whatever </a:t>
            </a:r>
            <a:r>
              <a:rPr kumimoji="0" lang="en-GB" sz="2400" b="1" i="0" u="none" strike="noStrike" kern="1200" cap="none" spc="0" normalizeH="0" baseline="0" noProof="0">
                <a:ln>
                  <a:noFill/>
                </a:ln>
                <a:effectLst/>
                <a:uLnTx/>
                <a:uFillTx/>
                <a:latin typeface="Ellab Sans"/>
                <a:ea typeface="Ellab Sans" panose="02000503000000020004" pitchFamily="2" charset="0"/>
              </a:rPr>
              <a:t>you need…</a:t>
            </a:r>
          </a:p>
        </p:txBody>
      </p:sp>
      <p:sp>
        <p:nvSpPr>
          <p:cNvPr id="18" name="Rectangle: Rounded Corners 17">
            <a:extLst>
              <a:ext uri="{FF2B5EF4-FFF2-40B4-BE49-F238E27FC236}">
                <a16:creationId xmlns:a16="http://schemas.microsoft.com/office/drawing/2014/main" id="{EB7A9F3F-6ABB-2568-5E22-A1CEA184858C}"/>
              </a:ext>
            </a:extLst>
          </p:cNvPr>
          <p:cNvSpPr/>
          <p:nvPr/>
        </p:nvSpPr>
        <p:spPr>
          <a:xfrm>
            <a:off x="6678692" y="1238351"/>
            <a:ext cx="1662875" cy="1918339"/>
          </a:xfrm>
          <a:prstGeom prst="roundRect">
            <a:avLst>
              <a:gd name="adj" fmla="val 4058"/>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Validation</a:t>
            </a:r>
          </a:p>
          <a:p>
            <a:pPr algn="ct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software, mapping, CQV, and consulting</a:t>
            </a:r>
          </a:p>
        </p:txBody>
      </p:sp>
      <p:sp>
        <p:nvSpPr>
          <p:cNvPr id="19" name="Rectangle: Rounded Corners 18">
            <a:extLst>
              <a:ext uri="{FF2B5EF4-FFF2-40B4-BE49-F238E27FC236}">
                <a16:creationId xmlns:a16="http://schemas.microsoft.com/office/drawing/2014/main" id="{993139BB-99C6-2815-AFCB-19D04DD7E35F}"/>
              </a:ext>
            </a:extLst>
          </p:cNvPr>
          <p:cNvSpPr/>
          <p:nvPr/>
        </p:nvSpPr>
        <p:spPr>
          <a:xfrm>
            <a:off x="8408011" y="2232340"/>
            <a:ext cx="2550246" cy="924350"/>
          </a:xfrm>
          <a:prstGeom prst="roundRect">
            <a:avLst>
              <a:gd name="adj" fmla="val 6056"/>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Monitoring</a:t>
            </a:r>
          </a:p>
          <a:p>
            <a:pPr algn="ct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software, </a:t>
            </a:r>
            <a:r>
              <a:rPr lang="en-US" sz="1200" b="1">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SLAs</a:t>
            </a: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 installation, 3rd-party integration</a:t>
            </a:r>
            <a:b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b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20" name="Rectangle: Rounded Corners 19">
            <a:extLst>
              <a:ext uri="{FF2B5EF4-FFF2-40B4-BE49-F238E27FC236}">
                <a16:creationId xmlns:a16="http://schemas.microsoft.com/office/drawing/2014/main" id="{E930CB60-477C-66E0-BC79-662E04E0CFE3}"/>
              </a:ext>
            </a:extLst>
          </p:cNvPr>
          <p:cNvSpPr/>
          <p:nvPr/>
        </p:nvSpPr>
        <p:spPr>
          <a:xfrm>
            <a:off x="8408011" y="1238350"/>
            <a:ext cx="2550246" cy="919672"/>
          </a:xfrm>
          <a:prstGeom prst="roundRect">
            <a:avLst>
              <a:gd name="adj" fmla="val 8117"/>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accent1"/>
                </a:solidFill>
                <a:latin typeface="+mj-lt"/>
                <a:ea typeface="Ellab Sans Light" panose="02000403000000020004" pitchFamily="2" charset="0"/>
                <a:cs typeface="Ellab Sans Light" panose="02000403000000020004" pitchFamily="2" charset="0"/>
              </a:rPr>
              <a:t>Calibration</a:t>
            </a:r>
          </a:p>
          <a:p>
            <a:pPr algn="ctr"/>
            <a: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on-site or in-lab services, accredited, traceable</a:t>
            </a:r>
            <a:br>
              <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b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2" name="Tekstfelt 1">
            <a:extLst>
              <a:ext uri="{FF2B5EF4-FFF2-40B4-BE49-F238E27FC236}">
                <a16:creationId xmlns:a16="http://schemas.microsoft.com/office/drawing/2014/main" id="{6196D636-F575-D0E9-B3B2-BA104033C4EA}"/>
              </a:ext>
            </a:extLst>
          </p:cNvPr>
          <p:cNvSpPr txBox="1">
            <a:spLocks noGrp="1" noRot="1" noMove="1" noResize="1" noEditPoints="1" noAdjustHandles="1" noChangeArrowheads="1" noChangeShapeType="1"/>
          </p:cNvSpPr>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12</a:t>
            </a:fld>
            <a:endParaRPr lang="da-DK" sz="1400">
              <a:solidFill>
                <a:schemeClr val="accent1"/>
              </a:solidFill>
              <a:latin typeface="+mn-lt"/>
            </a:endParaRPr>
          </a:p>
        </p:txBody>
      </p:sp>
      <p:sp>
        <p:nvSpPr>
          <p:cNvPr id="12" name="Content Placeholder 3">
            <a:extLst>
              <a:ext uri="{FF2B5EF4-FFF2-40B4-BE49-F238E27FC236}">
                <a16:creationId xmlns:a16="http://schemas.microsoft.com/office/drawing/2014/main" id="{8C8BDB6F-0035-CE48-691F-7C718FFEBED4}"/>
              </a:ext>
            </a:extLst>
          </p:cNvPr>
          <p:cNvSpPr txBox="1">
            <a:spLocks/>
          </p:cNvSpPr>
          <p:nvPr/>
        </p:nvSpPr>
        <p:spPr bwMode="auto">
          <a:xfrm>
            <a:off x="2012950" y="3429000"/>
            <a:ext cx="4083050" cy="99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GB" sz="1600"/>
              <a:t>We offer a unique combination of </a:t>
            </a:r>
            <a:br>
              <a:rPr lang="en-GB" sz="1600"/>
            </a:br>
            <a:r>
              <a:rPr lang="en-GB" sz="1600"/>
              <a:t>equipment, expertise, and services within </a:t>
            </a:r>
            <a:br>
              <a:rPr lang="en-GB" sz="1600"/>
            </a:br>
            <a:r>
              <a:rPr lang="en-GB" sz="1600" b="1"/>
              <a:t>validation</a:t>
            </a:r>
            <a:r>
              <a:rPr lang="en-GB" sz="1600"/>
              <a:t>, </a:t>
            </a:r>
            <a:r>
              <a:rPr lang="en-GB" sz="1600" b="1"/>
              <a:t>monitoring</a:t>
            </a:r>
            <a:r>
              <a:rPr lang="en-GB" sz="1600"/>
              <a:t>, and </a:t>
            </a:r>
            <a:r>
              <a:rPr lang="en-GB" sz="1600" b="1"/>
              <a:t>calibration</a:t>
            </a:r>
            <a:r>
              <a:rPr lang="en-GB" sz="1600"/>
              <a:t>. </a:t>
            </a:r>
            <a:endParaRPr lang="da-DK" sz="1600"/>
          </a:p>
        </p:txBody>
      </p:sp>
      <p:grpSp>
        <p:nvGrpSpPr>
          <p:cNvPr id="11" name="Group 10">
            <a:extLst>
              <a:ext uri="{FF2B5EF4-FFF2-40B4-BE49-F238E27FC236}">
                <a16:creationId xmlns:a16="http://schemas.microsoft.com/office/drawing/2014/main" id="{44F3462C-1AC5-54F0-C49A-EE3C8D769C3F}"/>
              </a:ext>
            </a:extLst>
          </p:cNvPr>
          <p:cNvGrpSpPr/>
          <p:nvPr/>
        </p:nvGrpSpPr>
        <p:grpSpPr>
          <a:xfrm>
            <a:off x="2057348" y="2589032"/>
            <a:ext cx="2930012" cy="0"/>
            <a:chOff x="1633514" y="1786749"/>
            <a:chExt cx="2930012" cy="0"/>
          </a:xfrm>
        </p:grpSpPr>
        <p:cxnSp>
          <p:nvCxnSpPr>
            <p:cNvPr id="7" name="Straight Connector 6">
              <a:extLst>
                <a:ext uri="{FF2B5EF4-FFF2-40B4-BE49-F238E27FC236}">
                  <a16:creationId xmlns:a16="http://schemas.microsoft.com/office/drawing/2014/main" id="{708A7168-821D-E081-69F8-CF3041A27B69}"/>
                </a:ext>
              </a:extLst>
            </p:cNvPr>
            <p:cNvCxnSpPr>
              <a:cxnSpLocks/>
            </p:cNvCxnSpPr>
            <p:nvPr/>
          </p:nvCxnSpPr>
          <p:spPr>
            <a:xfrm>
              <a:off x="1633514" y="1786749"/>
              <a:ext cx="1091380" cy="0"/>
            </a:xfrm>
            <a:prstGeom prst="line">
              <a:avLst/>
            </a:prstGeom>
            <a:ln w="571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6A6502EE-136B-09DC-ED32-7F07C48BC3C3}"/>
                </a:ext>
              </a:extLst>
            </p:cNvPr>
            <p:cNvCxnSpPr>
              <a:cxnSpLocks/>
            </p:cNvCxnSpPr>
            <p:nvPr/>
          </p:nvCxnSpPr>
          <p:spPr>
            <a:xfrm>
              <a:off x="3472146" y="1786749"/>
              <a:ext cx="1091380" cy="0"/>
            </a:xfrm>
            <a:prstGeom prst="line">
              <a:avLst/>
            </a:prstGeom>
            <a:ln w="57150">
              <a:solidFill>
                <a:schemeClr val="tx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60563488"/>
      </p:ext>
    </p:extLst>
  </p:cSld>
  <p:clrMapOvr>
    <a:masterClrMapping/>
  </p:clrMapOvr>
  <p:transition spd="slow">
    <p:push dir="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
          <a:extLst>
            <a:ext uri="{FF2B5EF4-FFF2-40B4-BE49-F238E27FC236}">
              <a16:creationId xmlns:a16="http://schemas.microsoft.com/office/drawing/2014/main" id="{63EA3CCC-0E00-BB43-BC88-5E5E8CBF1F3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D0C9E08-E38B-8877-50D5-837E896A9A22}"/>
              </a:ext>
            </a:extLst>
          </p:cNvPr>
          <p:cNvSpPr/>
          <p:nvPr/>
        </p:nvSpPr>
        <p:spPr>
          <a:xfrm>
            <a:off x="3359359" y="2070977"/>
            <a:ext cx="4821361" cy="6335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6" name="Title 25">
            <a:extLst>
              <a:ext uri="{FF2B5EF4-FFF2-40B4-BE49-F238E27FC236}">
                <a16:creationId xmlns:a16="http://schemas.microsoft.com/office/drawing/2014/main" id="{6EBE9808-13B8-4350-7189-B38580996C82}"/>
              </a:ext>
            </a:extLst>
          </p:cNvPr>
          <p:cNvSpPr>
            <a:spLocks noGrp="1"/>
          </p:cNvSpPr>
          <p:nvPr>
            <p:ph type="title"/>
          </p:nvPr>
        </p:nvSpPr>
        <p:spPr>
          <a:xfrm>
            <a:off x="360000" y="944563"/>
            <a:ext cx="11497038" cy="551433"/>
          </a:xfrm>
        </p:spPr>
        <p:txBody>
          <a:bodyPr/>
          <a:lstStyle/>
          <a:p>
            <a:r>
              <a:rPr lang="en-DK"/>
              <a:t> </a:t>
            </a:r>
            <a:r>
              <a:rPr lang="en-US"/>
              <a:t>We Support Your Full Life Cycle</a:t>
            </a:r>
            <a:endParaRPr lang="en-DK"/>
          </a:p>
        </p:txBody>
      </p:sp>
      <p:sp>
        <p:nvSpPr>
          <p:cNvPr id="7" name="Rectangle 6">
            <a:extLst>
              <a:ext uri="{FF2B5EF4-FFF2-40B4-BE49-F238E27FC236}">
                <a16:creationId xmlns:a16="http://schemas.microsoft.com/office/drawing/2014/main" id="{D7EC6411-453C-2D37-950F-76D861AB786F}"/>
              </a:ext>
            </a:extLst>
          </p:cNvPr>
          <p:cNvSpPr/>
          <p:nvPr/>
        </p:nvSpPr>
        <p:spPr>
          <a:xfrm>
            <a:off x="3378720" y="2070976"/>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TextBox 5">
            <a:extLst>
              <a:ext uri="{FF2B5EF4-FFF2-40B4-BE49-F238E27FC236}">
                <a16:creationId xmlns:a16="http://schemas.microsoft.com/office/drawing/2014/main" id="{B4C1763B-0F72-9C2F-48FE-45EA49E1BC28}"/>
              </a:ext>
            </a:extLst>
          </p:cNvPr>
          <p:cNvSpPr txBox="1"/>
          <p:nvPr/>
        </p:nvSpPr>
        <p:spPr>
          <a:xfrm>
            <a:off x="3378720" y="2149678"/>
            <a:ext cx="1593188" cy="420756"/>
          </a:xfrm>
          <a:prstGeom prst="rect">
            <a:avLst/>
          </a:prstGeom>
          <a:noFill/>
        </p:spPr>
        <p:txBody>
          <a:bodyPr wrap="square" rtlCol="0">
            <a:spAutoFit/>
          </a:bodyPr>
          <a:lstStyle/>
          <a:p>
            <a:pPr algn="ctr"/>
            <a:r>
              <a:rPr lang="en-DK" sz="1067" b="1">
                <a:latin typeface="+mj-lt"/>
              </a:rPr>
              <a:t>Design</a:t>
            </a:r>
          </a:p>
          <a:p>
            <a:pPr algn="ctr"/>
            <a:r>
              <a:rPr lang="en-DK" sz="1067" b="1">
                <a:latin typeface="+mj-lt"/>
              </a:rPr>
              <a:t>&amp; development</a:t>
            </a:r>
          </a:p>
        </p:txBody>
      </p:sp>
      <p:sp>
        <p:nvSpPr>
          <p:cNvPr id="8" name="TextBox 7">
            <a:extLst>
              <a:ext uri="{FF2B5EF4-FFF2-40B4-BE49-F238E27FC236}">
                <a16:creationId xmlns:a16="http://schemas.microsoft.com/office/drawing/2014/main" id="{535A8E4C-6B97-BCA7-73FE-BD5C9B8D3F33}"/>
              </a:ext>
            </a:extLst>
          </p:cNvPr>
          <p:cNvSpPr txBox="1"/>
          <p:nvPr/>
        </p:nvSpPr>
        <p:spPr>
          <a:xfrm>
            <a:off x="4979388" y="2256972"/>
            <a:ext cx="1593188" cy="256545"/>
          </a:xfrm>
          <a:prstGeom prst="rect">
            <a:avLst/>
          </a:prstGeom>
          <a:noFill/>
        </p:spPr>
        <p:txBody>
          <a:bodyPr wrap="square" rtlCol="0">
            <a:spAutoFit/>
          </a:bodyPr>
          <a:lstStyle/>
          <a:p>
            <a:pPr algn="ctr"/>
            <a:r>
              <a:rPr lang="en-DK" sz="1067" b="1">
                <a:latin typeface="+mj-lt"/>
              </a:rPr>
              <a:t>Qualification</a:t>
            </a:r>
          </a:p>
        </p:txBody>
      </p:sp>
      <p:sp>
        <p:nvSpPr>
          <p:cNvPr id="11" name="TextBox 10">
            <a:extLst>
              <a:ext uri="{FF2B5EF4-FFF2-40B4-BE49-F238E27FC236}">
                <a16:creationId xmlns:a16="http://schemas.microsoft.com/office/drawing/2014/main" id="{6031BC51-2191-8FAA-4EF9-5FF15DD5C100}"/>
              </a:ext>
            </a:extLst>
          </p:cNvPr>
          <p:cNvSpPr txBox="1"/>
          <p:nvPr/>
        </p:nvSpPr>
        <p:spPr>
          <a:xfrm>
            <a:off x="6576313" y="2154594"/>
            <a:ext cx="1593188" cy="420756"/>
          </a:xfrm>
          <a:prstGeom prst="rect">
            <a:avLst/>
          </a:prstGeom>
          <a:noFill/>
        </p:spPr>
        <p:txBody>
          <a:bodyPr wrap="square" rtlCol="0">
            <a:spAutoFit/>
          </a:bodyPr>
          <a:lstStyle/>
          <a:p>
            <a:pPr algn="ctr"/>
            <a:r>
              <a:rPr lang="en-DK" sz="1067" b="1">
                <a:latin typeface="+mj-lt"/>
              </a:rPr>
              <a:t>Continuous</a:t>
            </a:r>
          </a:p>
          <a:p>
            <a:pPr algn="ctr"/>
            <a:r>
              <a:rPr lang="en-GB" sz="1067" b="1">
                <a:latin typeface="+mj-lt"/>
              </a:rPr>
              <a:t>p</a:t>
            </a:r>
            <a:r>
              <a:rPr lang="en-DK" sz="1067" b="1">
                <a:latin typeface="+mj-lt"/>
              </a:rPr>
              <a:t>rocess verification</a:t>
            </a:r>
          </a:p>
        </p:txBody>
      </p:sp>
      <p:sp>
        <p:nvSpPr>
          <p:cNvPr id="15" name="Rectangle 14">
            <a:extLst>
              <a:ext uri="{FF2B5EF4-FFF2-40B4-BE49-F238E27FC236}">
                <a16:creationId xmlns:a16="http://schemas.microsoft.com/office/drawing/2014/main" id="{5D0A4502-55EF-ABDE-77FA-3C6E3C64E182}"/>
              </a:ext>
            </a:extLst>
          </p:cNvPr>
          <p:cNvSpPr/>
          <p:nvPr/>
        </p:nvSpPr>
        <p:spPr>
          <a:xfrm>
            <a:off x="2357734" y="2707092"/>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TextBox 15">
            <a:extLst>
              <a:ext uri="{FF2B5EF4-FFF2-40B4-BE49-F238E27FC236}">
                <a16:creationId xmlns:a16="http://schemas.microsoft.com/office/drawing/2014/main" id="{D2D6C1D8-AEA7-EF93-2F93-715830A25558}"/>
              </a:ext>
            </a:extLst>
          </p:cNvPr>
          <p:cNvSpPr txBox="1"/>
          <p:nvPr/>
        </p:nvSpPr>
        <p:spPr>
          <a:xfrm>
            <a:off x="2357735" y="2958945"/>
            <a:ext cx="1020985" cy="256545"/>
          </a:xfrm>
          <a:prstGeom prst="rect">
            <a:avLst/>
          </a:prstGeom>
          <a:noFill/>
        </p:spPr>
        <p:txBody>
          <a:bodyPr wrap="square" rtlCol="0">
            <a:spAutoFit/>
          </a:bodyPr>
          <a:lstStyle/>
          <a:p>
            <a:r>
              <a:rPr lang="en-DK" sz="1067" b="1">
                <a:latin typeface="+mj-lt"/>
              </a:rPr>
              <a:t>Validation</a:t>
            </a:r>
          </a:p>
        </p:txBody>
      </p:sp>
      <p:sp>
        <p:nvSpPr>
          <p:cNvPr id="17" name="Rectangle 16">
            <a:extLst>
              <a:ext uri="{FF2B5EF4-FFF2-40B4-BE49-F238E27FC236}">
                <a16:creationId xmlns:a16="http://schemas.microsoft.com/office/drawing/2014/main" id="{577954A8-A43F-8EEE-EF0F-58CD77CBECFF}"/>
              </a:ext>
            </a:extLst>
          </p:cNvPr>
          <p:cNvSpPr/>
          <p:nvPr/>
        </p:nvSpPr>
        <p:spPr>
          <a:xfrm>
            <a:off x="2357734" y="3466417"/>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8" name="TextBox 17">
            <a:extLst>
              <a:ext uri="{FF2B5EF4-FFF2-40B4-BE49-F238E27FC236}">
                <a16:creationId xmlns:a16="http://schemas.microsoft.com/office/drawing/2014/main" id="{3355BEB1-1BF6-01BA-7119-EAE30F928D17}"/>
              </a:ext>
            </a:extLst>
          </p:cNvPr>
          <p:cNvSpPr txBox="1"/>
          <p:nvPr/>
        </p:nvSpPr>
        <p:spPr>
          <a:xfrm>
            <a:off x="2357736" y="3716457"/>
            <a:ext cx="1009765" cy="256545"/>
          </a:xfrm>
          <a:prstGeom prst="rect">
            <a:avLst/>
          </a:prstGeom>
          <a:noFill/>
        </p:spPr>
        <p:txBody>
          <a:bodyPr wrap="square" rtlCol="0">
            <a:spAutoFit/>
          </a:bodyPr>
          <a:lstStyle/>
          <a:p>
            <a:r>
              <a:rPr lang="en-DK" sz="1067" b="1">
                <a:latin typeface="+mj-lt"/>
              </a:rPr>
              <a:t>Monitoring</a:t>
            </a:r>
          </a:p>
        </p:txBody>
      </p:sp>
      <p:sp>
        <p:nvSpPr>
          <p:cNvPr id="19" name="Rectangle 18">
            <a:extLst>
              <a:ext uri="{FF2B5EF4-FFF2-40B4-BE49-F238E27FC236}">
                <a16:creationId xmlns:a16="http://schemas.microsoft.com/office/drawing/2014/main" id="{B41F2829-B316-AAC7-C0D5-EF824FBC7DD5}"/>
              </a:ext>
            </a:extLst>
          </p:cNvPr>
          <p:cNvSpPr/>
          <p:nvPr/>
        </p:nvSpPr>
        <p:spPr>
          <a:xfrm>
            <a:off x="2357734" y="4217905"/>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TextBox 19">
            <a:extLst>
              <a:ext uri="{FF2B5EF4-FFF2-40B4-BE49-F238E27FC236}">
                <a16:creationId xmlns:a16="http://schemas.microsoft.com/office/drawing/2014/main" id="{F738B78C-5044-FA55-60BD-D2568DF6362F}"/>
              </a:ext>
            </a:extLst>
          </p:cNvPr>
          <p:cNvSpPr txBox="1"/>
          <p:nvPr/>
        </p:nvSpPr>
        <p:spPr>
          <a:xfrm>
            <a:off x="2357735" y="4463960"/>
            <a:ext cx="1020985" cy="256545"/>
          </a:xfrm>
          <a:prstGeom prst="rect">
            <a:avLst/>
          </a:prstGeom>
          <a:noFill/>
        </p:spPr>
        <p:txBody>
          <a:bodyPr wrap="square" rtlCol="0">
            <a:spAutoFit/>
          </a:bodyPr>
          <a:lstStyle/>
          <a:p>
            <a:r>
              <a:rPr lang="en-DK" sz="1067" b="1">
                <a:latin typeface="+mj-lt"/>
              </a:rPr>
              <a:t>Calibration</a:t>
            </a:r>
          </a:p>
        </p:txBody>
      </p:sp>
      <p:sp>
        <p:nvSpPr>
          <p:cNvPr id="24" name="Rectangle 23">
            <a:extLst>
              <a:ext uri="{FF2B5EF4-FFF2-40B4-BE49-F238E27FC236}">
                <a16:creationId xmlns:a16="http://schemas.microsoft.com/office/drawing/2014/main" id="{BA1C8580-06FA-424B-2604-EDC514616E54}"/>
              </a:ext>
            </a:extLst>
          </p:cNvPr>
          <p:cNvSpPr/>
          <p:nvPr/>
        </p:nvSpPr>
        <p:spPr>
          <a:xfrm>
            <a:off x="3367501" y="2705693"/>
            <a:ext cx="4802000" cy="2266260"/>
          </a:xfrm>
          <a:prstGeom prst="rect">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C3DF29FC-65B8-90B2-1FE6-E5F7EAB6FD1B}"/>
              </a:ext>
            </a:extLst>
          </p:cNvPr>
          <p:cNvSpPr/>
          <p:nvPr/>
        </p:nvSpPr>
        <p:spPr>
          <a:xfrm>
            <a:off x="8169501" y="2711414"/>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7" name="Rectangle 26">
            <a:extLst>
              <a:ext uri="{FF2B5EF4-FFF2-40B4-BE49-F238E27FC236}">
                <a16:creationId xmlns:a16="http://schemas.microsoft.com/office/drawing/2014/main" id="{4200EE76-05DD-6BB5-0227-CE750FFBAEA5}"/>
              </a:ext>
            </a:extLst>
          </p:cNvPr>
          <p:cNvSpPr/>
          <p:nvPr/>
        </p:nvSpPr>
        <p:spPr>
          <a:xfrm>
            <a:off x="8169501" y="3481828"/>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8" name="Rectangle 27">
            <a:extLst>
              <a:ext uri="{FF2B5EF4-FFF2-40B4-BE49-F238E27FC236}">
                <a16:creationId xmlns:a16="http://schemas.microsoft.com/office/drawing/2014/main" id="{1FC0894E-B72D-17F3-8315-503F3B4C54C2}"/>
              </a:ext>
            </a:extLst>
          </p:cNvPr>
          <p:cNvSpPr/>
          <p:nvPr/>
        </p:nvSpPr>
        <p:spPr>
          <a:xfrm>
            <a:off x="8169501" y="4245375"/>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Rectangle 29">
            <a:extLst>
              <a:ext uri="{FF2B5EF4-FFF2-40B4-BE49-F238E27FC236}">
                <a16:creationId xmlns:a16="http://schemas.microsoft.com/office/drawing/2014/main" id="{06DBD508-88BD-0730-E773-1D63C36C9278}"/>
              </a:ext>
            </a:extLst>
          </p:cNvPr>
          <p:cNvSpPr/>
          <p:nvPr/>
        </p:nvSpPr>
        <p:spPr>
          <a:xfrm>
            <a:off x="8169501" y="5008922"/>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2" name="Straight Connector 31">
            <a:extLst>
              <a:ext uri="{FF2B5EF4-FFF2-40B4-BE49-F238E27FC236}">
                <a16:creationId xmlns:a16="http://schemas.microsoft.com/office/drawing/2014/main" id="{EA928693-F243-EC93-1289-4FFB1F23EFEA}"/>
              </a:ext>
            </a:extLst>
          </p:cNvPr>
          <p:cNvCxnSpPr>
            <a:cxnSpLocks/>
          </p:cNvCxnSpPr>
          <p:nvPr/>
        </p:nvCxnSpPr>
        <p:spPr>
          <a:xfrm>
            <a:off x="2357735" y="3474960"/>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48FC50F-8CF4-8DD4-C311-CCE122283B34}"/>
              </a:ext>
            </a:extLst>
          </p:cNvPr>
          <p:cNvCxnSpPr>
            <a:cxnSpLocks/>
          </p:cNvCxnSpPr>
          <p:nvPr/>
        </p:nvCxnSpPr>
        <p:spPr>
          <a:xfrm>
            <a:off x="2357735" y="4223456"/>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F8A32ED2-6974-5DE3-C252-6D18CB082AD4}"/>
              </a:ext>
            </a:extLst>
          </p:cNvPr>
          <p:cNvCxnSpPr>
            <a:cxnSpLocks/>
          </p:cNvCxnSpPr>
          <p:nvPr/>
        </p:nvCxnSpPr>
        <p:spPr>
          <a:xfrm>
            <a:off x="2357735" y="4971952"/>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8CC5E103-A532-DF3F-3D82-4C16724BB22C}"/>
              </a:ext>
            </a:extLst>
          </p:cNvPr>
          <p:cNvCxnSpPr>
            <a:cxnSpLocks/>
          </p:cNvCxnSpPr>
          <p:nvPr/>
        </p:nvCxnSpPr>
        <p:spPr>
          <a:xfrm>
            <a:off x="3365274" y="3474960"/>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473091B-7E03-791C-DA88-244F38C77712}"/>
              </a:ext>
            </a:extLst>
          </p:cNvPr>
          <p:cNvCxnSpPr>
            <a:cxnSpLocks/>
          </p:cNvCxnSpPr>
          <p:nvPr/>
        </p:nvCxnSpPr>
        <p:spPr>
          <a:xfrm>
            <a:off x="3365274" y="4223456"/>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84BA32F-02F2-4261-A48C-59998226A7E5}"/>
              </a:ext>
            </a:extLst>
          </p:cNvPr>
          <p:cNvCxnSpPr>
            <a:cxnSpLocks/>
          </p:cNvCxnSpPr>
          <p:nvPr/>
        </p:nvCxnSpPr>
        <p:spPr>
          <a:xfrm>
            <a:off x="3365274" y="4971952"/>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0019ABD-33E4-564C-BDBC-95CFEB326304}"/>
              </a:ext>
            </a:extLst>
          </p:cNvPr>
          <p:cNvCxnSpPr>
            <a:cxnSpLocks/>
          </p:cNvCxnSpPr>
          <p:nvPr/>
        </p:nvCxnSpPr>
        <p:spPr>
          <a:xfrm>
            <a:off x="4971907" y="2704546"/>
            <a:ext cx="0" cy="226740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9666A50-9FB1-4159-A003-8539FEF59BB0}"/>
              </a:ext>
            </a:extLst>
          </p:cNvPr>
          <p:cNvCxnSpPr>
            <a:cxnSpLocks/>
          </p:cNvCxnSpPr>
          <p:nvPr/>
        </p:nvCxnSpPr>
        <p:spPr>
          <a:xfrm>
            <a:off x="4971907"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4E9CC2C8-ACB0-9BFD-9E41-A4B9D21E6D79}"/>
              </a:ext>
            </a:extLst>
          </p:cNvPr>
          <p:cNvCxnSpPr>
            <a:cxnSpLocks/>
          </p:cNvCxnSpPr>
          <p:nvPr/>
        </p:nvCxnSpPr>
        <p:spPr>
          <a:xfrm>
            <a:off x="6569213" y="2704546"/>
            <a:ext cx="7100" cy="2281359"/>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98485BB-9C06-6BF8-E848-B6F1980E9764}"/>
              </a:ext>
            </a:extLst>
          </p:cNvPr>
          <p:cNvCxnSpPr>
            <a:cxnSpLocks/>
          </p:cNvCxnSpPr>
          <p:nvPr/>
        </p:nvCxnSpPr>
        <p:spPr>
          <a:xfrm>
            <a:off x="656921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8F68E94-A8A6-A0E1-FEAB-B1965F476F54}"/>
              </a:ext>
            </a:extLst>
          </p:cNvPr>
          <p:cNvCxnSpPr>
            <a:cxnSpLocks/>
          </p:cNvCxnSpPr>
          <p:nvPr/>
        </p:nvCxnSpPr>
        <p:spPr>
          <a:xfrm>
            <a:off x="8181953" y="2704546"/>
            <a:ext cx="0" cy="230437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05C646BE-C86C-1854-9841-F96D373BDC65}"/>
              </a:ext>
            </a:extLst>
          </p:cNvPr>
          <p:cNvSpPr/>
          <p:nvPr/>
        </p:nvSpPr>
        <p:spPr>
          <a:xfrm>
            <a:off x="8184367" y="2070977"/>
            <a:ext cx="1570179" cy="63356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TextBox 9">
            <a:extLst>
              <a:ext uri="{FF2B5EF4-FFF2-40B4-BE49-F238E27FC236}">
                <a16:creationId xmlns:a16="http://schemas.microsoft.com/office/drawing/2014/main" id="{DD98615B-4378-8BA6-C0F5-65CE7753B51F}"/>
              </a:ext>
            </a:extLst>
          </p:cNvPr>
          <p:cNvSpPr txBox="1"/>
          <p:nvPr/>
        </p:nvSpPr>
        <p:spPr>
          <a:xfrm>
            <a:off x="8169501" y="2242223"/>
            <a:ext cx="1593188" cy="256545"/>
          </a:xfrm>
          <a:prstGeom prst="rect">
            <a:avLst/>
          </a:prstGeom>
          <a:noFill/>
        </p:spPr>
        <p:txBody>
          <a:bodyPr wrap="square" rtlCol="0">
            <a:spAutoFit/>
          </a:bodyPr>
          <a:lstStyle/>
          <a:p>
            <a:pPr algn="ctr"/>
            <a:r>
              <a:rPr lang="en-DK" sz="1067" b="1">
                <a:latin typeface="+mj-lt"/>
              </a:rPr>
              <a:t>Decommissioning</a:t>
            </a:r>
          </a:p>
        </p:txBody>
      </p:sp>
      <p:cxnSp>
        <p:nvCxnSpPr>
          <p:cNvPr id="59" name="Straight Connector 58">
            <a:extLst>
              <a:ext uri="{FF2B5EF4-FFF2-40B4-BE49-F238E27FC236}">
                <a16:creationId xmlns:a16="http://schemas.microsoft.com/office/drawing/2014/main" id="{F7266FFF-38B1-D235-43C2-450C4E35A31A}"/>
              </a:ext>
            </a:extLst>
          </p:cNvPr>
          <p:cNvCxnSpPr>
            <a:cxnSpLocks/>
          </p:cNvCxnSpPr>
          <p:nvPr/>
        </p:nvCxnSpPr>
        <p:spPr>
          <a:xfrm>
            <a:off x="818195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grpSp>
        <p:nvGrpSpPr>
          <p:cNvPr id="159" name="Group 158">
            <a:extLst>
              <a:ext uri="{FF2B5EF4-FFF2-40B4-BE49-F238E27FC236}">
                <a16:creationId xmlns:a16="http://schemas.microsoft.com/office/drawing/2014/main" id="{E602FC32-EE37-A67F-BF51-A9C3E478B8BC}"/>
              </a:ext>
            </a:extLst>
          </p:cNvPr>
          <p:cNvGrpSpPr/>
          <p:nvPr/>
        </p:nvGrpSpPr>
        <p:grpSpPr>
          <a:xfrm>
            <a:off x="5690937" y="2994794"/>
            <a:ext cx="172844" cy="167999"/>
            <a:chOff x="3499809" y="-565278"/>
            <a:chExt cx="129633" cy="125999"/>
          </a:xfrm>
        </p:grpSpPr>
        <p:sp>
          <p:nvSpPr>
            <p:cNvPr id="160" name="Rounded Rectangle 159">
              <a:extLst>
                <a:ext uri="{FF2B5EF4-FFF2-40B4-BE49-F238E27FC236}">
                  <a16:creationId xmlns:a16="http://schemas.microsoft.com/office/drawing/2014/main" id="{EC73E487-9F78-838D-B3F6-53C25D46D620}"/>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1" name="Straight Connector 160">
              <a:extLst>
                <a:ext uri="{FF2B5EF4-FFF2-40B4-BE49-F238E27FC236}">
                  <a16:creationId xmlns:a16="http://schemas.microsoft.com/office/drawing/2014/main" id="{38E367B6-4FAC-F882-11E8-C6799FE986F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436F55FD-F9A7-E23E-8339-071DD8BEBE4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3" name="Group 162">
            <a:extLst>
              <a:ext uri="{FF2B5EF4-FFF2-40B4-BE49-F238E27FC236}">
                <a16:creationId xmlns:a16="http://schemas.microsoft.com/office/drawing/2014/main" id="{EE7A00B8-E2C3-0146-E7BF-7595E6B2473B}"/>
              </a:ext>
            </a:extLst>
          </p:cNvPr>
          <p:cNvGrpSpPr/>
          <p:nvPr/>
        </p:nvGrpSpPr>
        <p:grpSpPr>
          <a:xfrm>
            <a:off x="7267697" y="2994794"/>
            <a:ext cx="172844" cy="167999"/>
            <a:chOff x="3499809" y="-565278"/>
            <a:chExt cx="129633" cy="125999"/>
          </a:xfrm>
        </p:grpSpPr>
        <p:sp>
          <p:nvSpPr>
            <p:cNvPr id="164" name="Rounded Rectangle 163">
              <a:extLst>
                <a:ext uri="{FF2B5EF4-FFF2-40B4-BE49-F238E27FC236}">
                  <a16:creationId xmlns:a16="http://schemas.microsoft.com/office/drawing/2014/main" id="{64EEA222-02BF-AA51-EE8C-3CA1E0187CE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5" name="Straight Connector 164">
              <a:extLst>
                <a:ext uri="{FF2B5EF4-FFF2-40B4-BE49-F238E27FC236}">
                  <a16:creationId xmlns:a16="http://schemas.microsoft.com/office/drawing/2014/main" id="{EBCA2B7C-5E65-3D3F-F8CD-B67C84A5082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95F75A-0DB9-0AF8-1DD8-2920D986870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7" name="Group 166">
            <a:extLst>
              <a:ext uri="{FF2B5EF4-FFF2-40B4-BE49-F238E27FC236}">
                <a16:creationId xmlns:a16="http://schemas.microsoft.com/office/drawing/2014/main" id="{81ACD06C-5A0E-0AA8-9BBF-E0F6A3DF45FE}"/>
              </a:ext>
            </a:extLst>
          </p:cNvPr>
          <p:cNvGrpSpPr/>
          <p:nvPr/>
        </p:nvGrpSpPr>
        <p:grpSpPr>
          <a:xfrm>
            <a:off x="8879616" y="2994794"/>
            <a:ext cx="172844" cy="167999"/>
            <a:chOff x="3499809" y="-565278"/>
            <a:chExt cx="129633" cy="125999"/>
          </a:xfrm>
        </p:grpSpPr>
        <p:sp>
          <p:nvSpPr>
            <p:cNvPr id="168" name="Rounded Rectangle 167">
              <a:extLst>
                <a:ext uri="{FF2B5EF4-FFF2-40B4-BE49-F238E27FC236}">
                  <a16:creationId xmlns:a16="http://schemas.microsoft.com/office/drawing/2014/main" id="{0FF187FC-DA44-E78B-8347-FE3D47C015B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9" name="Straight Connector 168">
              <a:extLst>
                <a:ext uri="{FF2B5EF4-FFF2-40B4-BE49-F238E27FC236}">
                  <a16:creationId xmlns:a16="http://schemas.microsoft.com/office/drawing/2014/main" id="{EADF6092-1997-F734-9BEF-A44C7570FD3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2879C6F-DD17-D633-091A-58BCEF4C2FAA}"/>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1" name="Group 170">
            <a:extLst>
              <a:ext uri="{FF2B5EF4-FFF2-40B4-BE49-F238E27FC236}">
                <a16:creationId xmlns:a16="http://schemas.microsoft.com/office/drawing/2014/main" id="{6AE9E2BE-4D81-B039-B343-339CB23A815B}"/>
              </a:ext>
            </a:extLst>
          </p:cNvPr>
          <p:cNvGrpSpPr/>
          <p:nvPr/>
        </p:nvGrpSpPr>
        <p:grpSpPr>
          <a:xfrm>
            <a:off x="4086835" y="3023280"/>
            <a:ext cx="172844" cy="167999"/>
            <a:chOff x="3499809" y="-565278"/>
            <a:chExt cx="129633" cy="125999"/>
          </a:xfrm>
        </p:grpSpPr>
        <p:sp>
          <p:nvSpPr>
            <p:cNvPr id="172" name="Rounded Rectangle 171">
              <a:extLst>
                <a:ext uri="{FF2B5EF4-FFF2-40B4-BE49-F238E27FC236}">
                  <a16:creationId xmlns:a16="http://schemas.microsoft.com/office/drawing/2014/main" id="{E9E90561-C265-5F32-F10A-05B62DCBBF4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3" name="Straight Connector 172">
              <a:extLst>
                <a:ext uri="{FF2B5EF4-FFF2-40B4-BE49-F238E27FC236}">
                  <a16:creationId xmlns:a16="http://schemas.microsoft.com/office/drawing/2014/main" id="{47611D16-6A7A-E7E7-F78C-2BC835CC7A1E}"/>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0613279A-F5A9-4D36-33BF-B65D8EB2AD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5" name="Group 174">
            <a:extLst>
              <a:ext uri="{FF2B5EF4-FFF2-40B4-BE49-F238E27FC236}">
                <a16:creationId xmlns:a16="http://schemas.microsoft.com/office/drawing/2014/main" id="{088E09BE-D4A9-E9AA-4714-8EFA384075D1}"/>
              </a:ext>
            </a:extLst>
          </p:cNvPr>
          <p:cNvGrpSpPr/>
          <p:nvPr/>
        </p:nvGrpSpPr>
        <p:grpSpPr>
          <a:xfrm>
            <a:off x="5690937" y="3776332"/>
            <a:ext cx="172844" cy="167999"/>
            <a:chOff x="3499809" y="-565278"/>
            <a:chExt cx="129633" cy="125999"/>
          </a:xfrm>
        </p:grpSpPr>
        <p:sp>
          <p:nvSpPr>
            <p:cNvPr id="176" name="Rounded Rectangle 175">
              <a:extLst>
                <a:ext uri="{FF2B5EF4-FFF2-40B4-BE49-F238E27FC236}">
                  <a16:creationId xmlns:a16="http://schemas.microsoft.com/office/drawing/2014/main" id="{83C283B9-1B18-51A0-FCC7-33DF184622A3}"/>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7" name="Straight Connector 176">
              <a:extLst>
                <a:ext uri="{FF2B5EF4-FFF2-40B4-BE49-F238E27FC236}">
                  <a16:creationId xmlns:a16="http://schemas.microsoft.com/office/drawing/2014/main" id="{EB253B31-7F3C-E955-32D7-36877A4ED3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194E53C7-3D3B-A96D-5B73-E6FAB9DC119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9" name="Group 178">
            <a:extLst>
              <a:ext uri="{FF2B5EF4-FFF2-40B4-BE49-F238E27FC236}">
                <a16:creationId xmlns:a16="http://schemas.microsoft.com/office/drawing/2014/main" id="{725FD895-BCDD-3F82-F2C6-7B243EF9EF74}"/>
              </a:ext>
            </a:extLst>
          </p:cNvPr>
          <p:cNvGrpSpPr/>
          <p:nvPr/>
        </p:nvGrpSpPr>
        <p:grpSpPr>
          <a:xfrm>
            <a:off x="7267697" y="3776332"/>
            <a:ext cx="172844" cy="167999"/>
            <a:chOff x="3499809" y="-565278"/>
            <a:chExt cx="129633" cy="125999"/>
          </a:xfrm>
        </p:grpSpPr>
        <p:sp>
          <p:nvSpPr>
            <p:cNvPr id="180" name="Rounded Rectangle 179">
              <a:extLst>
                <a:ext uri="{FF2B5EF4-FFF2-40B4-BE49-F238E27FC236}">
                  <a16:creationId xmlns:a16="http://schemas.microsoft.com/office/drawing/2014/main" id="{51550EB4-D0E3-0C23-2DC9-D78F1D5CAE3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1" name="Straight Connector 180">
              <a:extLst>
                <a:ext uri="{FF2B5EF4-FFF2-40B4-BE49-F238E27FC236}">
                  <a16:creationId xmlns:a16="http://schemas.microsoft.com/office/drawing/2014/main" id="{37B7E7DD-1726-A201-99BE-FA7549830B5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179A1053-E9CD-D9DB-0FDE-5ECE7D0FDE2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3" name="Group 182">
            <a:extLst>
              <a:ext uri="{FF2B5EF4-FFF2-40B4-BE49-F238E27FC236}">
                <a16:creationId xmlns:a16="http://schemas.microsoft.com/office/drawing/2014/main" id="{C3E69DC8-64C7-6EBF-1391-C3FC55D20B62}"/>
              </a:ext>
            </a:extLst>
          </p:cNvPr>
          <p:cNvGrpSpPr/>
          <p:nvPr/>
        </p:nvGrpSpPr>
        <p:grpSpPr>
          <a:xfrm>
            <a:off x="8879616" y="3776332"/>
            <a:ext cx="172844" cy="167999"/>
            <a:chOff x="3499809" y="-565278"/>
            <a:chExt cx="129633" cy="125999"/>
          </a:xfrm>
        </p:grpSpPr>
        <p:sp>
          <p:nvSpPr>
            <p:cNvPr id="184" name="Rounded Rectangle 183">
              <a:extLst>
                <a:ext uri="{FF2B5EF4-FFF2-40B4-BE49-F238E27FC236}">
                  <a16:creationId xmlns:a16="http://schemas.microsoft.com/office/drawing/2014/main" id="{2C4A195D-A021-8E23-3B7D-13E5EBE822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5" name="Straight Connector 184">
              <a:extLst>
                <a:ext uri="{FF2B5EF4-FFF2-40B4-BE49-F238E27FC236}">
                  <a16:creationId xmlns:a16="http://schemas.microsoft.com/office/drawing/2014/main" id="{D5D4467B-96D0-1747-F405-CD5E3E95A188}"/>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38F5B38B-E9A6-AE8E-D8C5-A55700A958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7" name="Group 186">
            <a:extLst>
              <a:ext uri="{FF2B5EF4-FFF2-40B4-BE49-F238E27FC236}">
                <a16:creationId xmlns:a16="http://schemas.microsoft.com/office/drawing/2014/main" id="{5BC5C064-7BF9-CF69-8AF5-1155CF56B32F}"/>
              </a:ext>
            </a:extLst>
          </p:cNvPr>
          <p:cNvGrpSpPr/>
          <p:nvPr/>
        </p:nvGrpSpPr>
        <p:grpSpPr>
          <a:xfrm>
            <a:off x="4086835" y="3750110"/>
            <a:ext cx="172844" cy="167999"/>
            <a:chOff x="3499809" y="-565278"/>
            <a:chExt cx="129633" cy="125999"/>
          </a:xfrm>
        </p:grpSpPr>
        <p:sp>
          <p:nvSpPr>
            <p:cNvPr id="188" name="Rounded Rectangle 187">
              <a:extLst>
                <a:ext uri="{FF2B5EF4-FFF2-40B4-BE49-F238E27FC236}">
                  <a16:creationId xmlns:a16="http://schemas.microsoft.com/office/drawing/2014/main" id="{FAA16221-7CBB-2283-E028-7FCA7F7D155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9" name="Straight Connector 188">
              <a:extLst>
                <a:ext uri="{FF2B5EF4-FFF2-40B4-BE49-F238E27FC236}">
                  <a16:creationId xmlns:a16="http://schemas.microsoft.com/office/drawing/2014/main" id="{8A744355-7958-33F6-4331-F4C8376B87C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B5476A36-4743-E244-A52A-89F518C808E6}"/>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1" name="Group 190">
            <a:extLst>
              <a:ext uri="{FF2B5EF4-FFF2-40B4-BE49-F238E27FC236}">
                <a16:creationId xmlns:a16="http://schemas.microsoft.com/office/drawing/2014/main" id="{0A5311D1-6B1F-0218-4542-A388A3C72788}"/>
              </a:ext>
            </a:extLst>
          </p:cNvPr>
          <p:cNvGrpSpPr/>
          <p:nvPr/>
        </p:nvGrpSpPr>
        <p:grpSpPr>
          <a:xfrm>
            <a:off x="5690937" y="4503162"/>
            <a:ext cx="172844" cy="167999"/>
            <a:chOff x="3499809" y="-565278"/>
            <a:chExt cx="129633" cy="125999"/>
          </a:xfrm>
        </p:grpSpPr>
        <p:sp>
          <p:nvSpPr>
            <p:cNvPr id="192" name="Rounded Rectangle 191">
              <a:extLst>
                <a:ext uri="{FF2B5EF4-FFF2-40B4-BE49-F238E27FC236}">
                  <a16:creationId xmlns:a16="http://schemas.microsoft.com/office/drawing/2014/main" id="{E0CAE15D-A07E-BBB4-4DAE-8D902EA68B4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3" name="Straight Connector 192">
              <a:extLst>
                <a:ext uri="{FF2B5EF4-FFF2-40B4-BE49-F238E27FC236}">
                  <a16:creationId xmlns:a16="http://schemas.microsoft.com/office/drawing/2014/main" id="{BD865C35-C9D1-0EDC-6AE6-598B7275CEF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0C148682-1035-B5D1-552B-35A1EEF7596E}"/>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5" name="Group 194">
            <a:extLst>
              <a:ext uri="{FF2B5EF4-FFF2-40B4-BE49-F238E27FC236}">
                <a16:creationId xmlns:a16="http://schemas.microsoft.com/office/drawing/2014/main" id="{7DA63F46-DF7C-299F-A3D0-ABA123F10CC6}"/>
              </a:ext>
            </a:extLst>
          </p:cNvPr>
          <p:cNvGrpSpPr/>
          <p:nvPr/>
        </p:nvGrpSpPr>
        <p:grpSpPr>
          <a:xfrm>
            <a:off x="7267697" y="4503162"/>
            <a:ext cx="172844" cy="167999"/>
            <a:chOff x="3499809" y="-565278"/>
            <a:chExt cx="129633" cy="125999"/>
          </a:xfrm>
        </p:grpSpPr>
        <p:sp>
          <p:nvSpPr>
            <p:cNvPr id="196" name="Rounded Rectangle 195">
              <a:extLst>
                <a:ext uri="{FF2B5EF4-FFF2-40B4-BE49-F238E27FC236}">
                  <a16:creationId xmlns:a16="http://schemas.microsoft.com/office/drawing/2014/main" id="{22941358-48CF-6696-E499-9094AE6983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7" name="Straight Connector 196">
              <a:extLst>
                <a:ext uri="{FF2B5EF4-FFF2-40B4-BE49-F238E27FC236}">
                  <a16:creationId xmlns:a16="http://schemas.microsoft.com/office/drawing/2014/main" id="{5171061B-4F33-5204-535C-7E7A8BC3D3B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051F9B90-E532-C9B1-CA57-641D8E0D5FE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9" name="Group 198">
            <a:extLst>
              <a:ext uri="{FF2B5EF4-FFF2-40B4-BE49-F238E27FC236}">
                <a16:creationId xmlns:a16="http://schemas.microsoft.com/office/drawing/2014/main" id="{A854A7CB-A4F7-6CCC-38D6-637DBA7D2CD7}"/>
              </a:ext>
            </a:extLst>
          </p:cNvPr>
          <p:cNvGrpSpPr/>
          <p:nvPr/>
        </p:nvGrpSpPr>
        <p:grpSpPr>
          <a:xfrm>
            <a:off x="8879616" y="4503162"/>
            <a:ext cx="172844" cy="167999"/>
            <a:chOff x="3499809" y="-565278"/>
            <a:chExt cx="129633" cy="125999"/>
          </a:xfrm>
        </p:grpSpPr>
        <p:sp>
          <p:nvSpPr>
            <p:cNvPr id="200" name="Rounded Rectangle 199">
              <a:extLst>
                <a:ext uri="{FF2B5EF4-FFF2-40B4-BE49-F238E27FC236}">
                  <a16:creationId xmlns:a16="http://schemas.microsoft.com/office/drawing/2014/main" id="{8D0981EE-853B-FBF1-92C7-29C1B842AE0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01" name="Straight Connector 200">
              <a:extLst>
                <a:ext uri="{FF2B5EF4-FFF2-40B4-BE49-F238E27FC236}">
                  <a16:creationId xmlns:a16="http://schemas.microsoft.com/office/drawing/2014/main" id="{B5C0B73D-1761-2258-EE7B-65AF1B51FE9B}"/>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36CB13B0-995C-D426-2F23-C8FE3BDB31C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229" name="Right Triangle 228">
            <a:extLst>
              <a:ext uri="{FF2B5EF4-FFF2-40B4-BE49-F238E27FC236}">
                <a16:creationId xmlns:a16="http://schemas.microsoft.com/office/drawing/2014/main" id="{3A0955D9-7A36-67A0-1B73-3141E28B7692}"/>
              </a:ext>
            </a:extLst>
          </p:cNvPr>
          <p:cNvSpPr/>
          <p:nvPr/>
        </p:nvSpPr>
        <p:spPr>
          <a:xfrm rot="16200000">
            <a:off x="2538775" y="1885764"/>
            <a:ext cx="644611" cy="1006691"/>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60" name="Straight Connector 59">
            <a:extLst>
              <a:ext uri="{FF2B5EF4-FFF2-40B4-BE49-F238E27FC236}">
                <a16:creationId xmlns:a16="http://schemas.microsoft.com/office/drawing/2014/main" id="{C6B3857E-07DB-52B8-F772-95CBE54F2875}"/>
              </a:ext>
            </a:extLst>
          </p:cNvPr>
          <p:cNvCxnSpPr>
            <a:cxnSpLocks/>
          </p:cNvCxnSpPr>
          <p:nvPr/>
        </p:nvCxnSpPr>
        <p:spPr>
          <a:xfrm>
            <a:off x="9751469" y="2066804"/>
            <a:ext cx="0" cy="294211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03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1FA05-8AD4-3404-FAD7-4FD5B62FD6E3}"/>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4A4C688-B8C6-2920-0C25-6B4AB7DAF8DC}"/>
              </a:ext>
            </a:extLst>
          </p:cNvPr>
          <p:cNvSpPr/>
          <p:nvPr/>
        </p:nvSpPr>
        <p:spPr>
          <a:xfrm>
            <a:off x="4667250" y="400050"/>
            <a:ext cx="3743325" cy="60007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 name="Picture 2" descr="A screenshot of a computer screen&#10;&#10;AI-generated content may be incorrect.">
            <a:extLst>
              <a:ext uri="{FF2B5EF4-FFF2-40B4-BE49-F238E27FC236}">
                <a16:creationId xmlns:a16="http://schemas.microsoft.com/office/drawing/2014/main" id="{AA40B953-35BB-3D09-AD55-75A1C1D37B71}"/>
              </a:ext>
            </a:extLst>
          </p:cNvPr>
          <p:cNvPicPr>
            <a:picLocks noChangeAspect="1"/>
          </p:cNvPicPr>
          <p:nvPr/>
        </p:nvPicPr>
        <p:blipFill>
          <a:blip r:embed="rId2"/>
          <a:stretch>
            <a:fillRect/>
          </a:stretch>
        </p:blipFill>
        <p:spPr>
          <a:xfrm>
            <a:off x="353963" y="128737"/>
            <a:ext cx="12190963" cy="6858000"/>
          </a:xfrm>
          <a:prstGeom prst="rect">
            <a:avLst/>
          </a:prstGeom>
        </p:spPr>
      </p:pic>
      <p:sp>
        <p:nvSpPr>
          <p:cNvPr id="6" name="Rectangle 5">
            <a:extLst>
              <a:ext uri="{FF2B5EF4-FFF2-40B4-BE49-F238E27FC236}">
                <a16:creationId xmlns:a16="http://schemas.microsoft.com/office/drawing/2014/main" id="{A4C9789A-8497-895D-AF5A-B15B42B6C120}"/>
              </a:ext>
            </a:extLst>
          </p:cNvPr>
          <p:cNvSpPr/>
          <p:nvPr/>
        </p:nvSpPr>
        <p:spPr>
          <a:xfrm>
            <a:off x="3378720" y="2070976"/>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TextBox 13">
            <a:extLst>
              <a:ext uri="{FF2B5EF4-FFF2-40B4-BE49-F238E27FC236}">
                <a16:creationId xmlns:a16="http://schemas.microsoft.com/office/drawing/2014/main" id="{84B493CA-4A61-8AAE-36D0-4E525158F51E}"/>
              </a:ext>
            </a:extLst>
          </p:cNvPr>
          <p:cNvSpPr txBox="1"/>
          <p:nvPr/>
        </p:nvSpPr>
        <p:spPr>
          <a:xfrm>
            <a:off x="81820" y="639433"/>
            <a:ext cx="4394930" cy="954107"/>
          </a:xfrm>
          <a:prstGeom prst="rect">
            <a:avLst/>
          </a:prstGeom>
          <a:noFill/>
        </p:spPr>
        <p:txBody>
          <a:bodyPr wrap="square" rtlCol="0">
            <a:spAutoFit/>
          </a:bodyPr>
          <a:lstStyle/>
          <a:p>
            <a:r>
              <a:rPr lang="en-GB" sz="2800" b="1">
                <a:solidFill>
                  <a:schemeClr val="bg1"/>
                </a:solidFill>
                <a:latin typeface="+mj-lt"/>
              </a:rPr>
              <a:t>Compliance Solutions for </a:t>
            </a:r>
            <a:r>
              <a:rPr lang="en-GB" sz="2800" b="1">
                <a:solidFill>
                  <a:schemeClr val="accent1"/>
                </a:solidFill>
                <a:latin typeface="+mj-lt"/>
              </a:rPr>
              <a:t>Your Full Life Cycle</a:t>
            </a:r>
            <a:endParaRPr lang="da-DK" sz="2400">
              <a:solidFill>
                <a:schemeClr val="accent1"/>
              </a:solidFill>
              <a:latin typeface="+mn-lt"/>
            </a:endParaRPr>
          </a:p>
        </p:txBody>
      </p:sp>
    </p:spTree>
    <p:extLst>
      <p:ext uri="{BB962C8B-B14F-4D97-AF65-F5344CB8AC3E}">
        <p14:creationId xmlns:p14="http://schemas.microsoft.com/office/powerpoint/2010/main" val="282448568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04F99-711D-4CE8-DB22-2236BEFB0908}"/>
            </a:ext>
          </a:extLst>
        </p:cNvPr>
        <p:cNvGrpSpPr/>
        <p:nvPr/>
      </p:nvGrpSpPr>
      <p:grpSpPr>
        <a:xfrm>
          <a:off x="0" y="0"/>
          <a:ext cx="0" cy="0"/>
          <a:chOff x="0" y="0"/>
          <a:chExt cx="0" cy="0"/>
        </a:xfrm>
      </p:grpSpPr>
      <p:sp>
        <p:nvSpPr>
          <p:cNvPr id="111" name="Rectangle 110">
            <a:extLst>
              <a:ext uri="{FF2B5EF4-FFF2-40B4-BE49-F238E27FC236}">
                <a16:creationId xmlns:a16="http://schemas.microsoft.com/office/drawing/2014/main" id="{F181742F-B244-7790-F329-A67149328106}"/>
              </a:ext>
            </a:extLst>
          </p:cNvPr>
          <p:cNvSpPr/>
          <p:nvPr/>
        </p:nvSpPr>
        <p:spPr>
          <a:xfrm>
            <a:off x="4667250" y="400050"/>
            <a:ext cx="3743325" cy="6000750"/>
          </a:xfrm>
          <a:prstGeom prst="rect">
            <a:avLst/>
          </a:prstGeom>
          <a:solidFill>
            <a:srgbClr val="009F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0" name="Picture 109" descr="A diagram of a diagram&#10;&#10;AI-generated content may be incorrect.">
            <a:extLst>
              <a:ext uri="{FF2B5EF4-FFF2-40B4-BE49-F238E27FC236}">
                <a16:creationId xmlns:a16="http://schemas.microsoft.com/office/drawing/2014/main" id="{1C941741-C443-58A5-EF27-9C0CBCB62E77}"/>
              </a:ext>
            </a:extLst>
          </p:cNvPr>
          <p:cNvPicPr>
            <a:picLocks noChangeAspect="1"/>
          </p:cNvPicPr>
          <p:nvPr/>
        </p:nvPicPr>
        <p:blipFill>
          <a:blip r:embed="rId3"/>
          <a:stretch>
            <a:fillRect/>
          </a:stretch>
        </p:blipFill>
        <p:spPr>
          <a:xfrm>
            <a:off x="5141" y="0"/>
            <a:ext cx="12181717" cy="6858000"/>
          </a:xfrm>
          <a:prstGeom prst="rect">
            <a:avLst/>
          </a:prstGeom>
        </p:spPr>
      </p:pic>
      <p:sp>
        <p:nvSpPr>
          <p:cNvPr id="112" name="TextBox 111">
            <a:extLst>
              <a:ext uri="{FF2B5EF4-FFF2-40B4-BE49-F238E27FC236}">
                <a16:creationId xmlns:a16="http://schemas.microsoft.com/office/drawing/2014/main" id="{8A35CE75-BF04-50FD-AAF9-9556E760669D}"/>
              </a:ext>
            </a:extLst>
          </p:cNvPr>
          <p:cNvSpPr txBox="1"/>
          <p:nvPr/>
        </p:nvSpPr>
        <p:spPr>
          <a:xfrm>
            <a:off x="81820" y="658483"/>
            <a:ext cx="2899505" cy="1384995"/>
          </a:xfrm>
          <a:prstGeom prst="rect">
            <a:avLst/>
          </a:prstGeom>
          <a:noFill/>
        </p:spPr>
        <p:txBody>
          <a:bodyPr wrap="square" rtlCol="0">
            <a:spAutoFit/>
          </a:bodyPr>
          <a:lstStyle/>
          <a:p>
            <a:r>
              <a:rPr lang="en-GB" sz="2800" b="1">
                <a:solidFill>
                  <a:schemeClr val="accent4"/>
                </a:solidFill>
                <a:latin typeface="+mj-lt"/>
              </a:rPr>
              <a:t>Complete </a:t>
            </a:r>
            <a:r>
              <a:rPr lang="en-GB" sz="2800" b="1">
                <a:solidFill>
                  <a:schemeClr val="bg1"/>
                </a:solidFill>
                <a:latin typeface="+mj-lt"/>
              </a:rPr>
              <a:t>Compliance Solutions</a:t>
            </a:r>
            <a:endParaRPr lang="da-DK" sz="2400">
              <a:solidFill>
                <a:schemeClr val="bg1"/>
              </a:solidFill>
              <a:latin typeface="+mn-lt"/>
            </a:endParaRPr>
          </a:p>
        </p:txBody>
      </p:sp>
    </p:spTree>
    <p:extLst>
      <p:ext uri="{BB962C8B-B14F-4D97-AF65-F5344CB8AC3E}">
        <p14:creationId xmlns:p14="http://schemas.microsoft.com/office/powerpoint/2010/main" val="4075863176"/>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B3B03-8C6F-4D6A-ACC1-4BD64BDE1B3B}"/>
            </a:ext>
          </a:extLst>
        </p:cNvPr>
        <p:cNvGrpSpPr/>
        <p:nvPr/>
      </p:nvGrpSpPr>
      <p:grpSpPr>
        <a:xfrm>
          <a:off x="0" y="0"/>
          <a:ext cx="0" cy="0"/>
          <a:chOff x="0" y="0"/>
          <a:chExt cx="0" cy="0"/>
        </a:xfrm>
      </p:grpSpPr>
      <p:sp>
        <p:nvSpPr>
          <p:cNvPr id="72" name="Rectangle 71">
            <a:extLst>
              <a:ext uri="{FF2B5EF4-FFF2-40B4-BE49-F238E27FC236}">
                <a16:creationId xmlns:a16="http://schemas.microsoft.com/office/drawing/2014/main" id="{BBBF9D17-185C-FEC5-9DBE-1CA3414133C6}"/>
              </a:ext>
            </a:extLst>
          </p:cNvPr>
          <p:cNvSpPr/>
          <p:nvPr/>
        </p:nvSpPr>
        <p:spPr>
          <a:xfrm>
            <a:off x="5011041" y="368841"/>
            <a:ext cx="2264401" cy="5959735"/>
          </a:xfrm>
          <a:prstGeom prst="rect">
            <a:avLst/>
          </a:prstGeom>
          <a:solidFill>
            <a:srgbClr val="009F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Rectangle 5">
            <a:extLst>
              <a:ext uri="{FF2B5EF4-FFF2-40B4-BE49-F238E27FC236}">
                <a16:creationId xmlns:a16="http://schemas.microsoft.com/office/drawing/2014/main" id="{2E7EF8C1-9962-C66E-EC2A-C82B68147DC9}"/>
              </a:ext>
            </a:extLst>
          </p:cNvPr>
          <p:cNvSpPr/>
          <p:nvPr/>
        </p:nvSpPr>
        <p:spPr>
          <a:xfrm>
            <a:off x="3988317" y="2176992"/>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aphicFrame>
        <p:nvGraphicFramePr>
          <p:cNvPr id="2" name="Table 1">
            <a:extLst>
              <a:ext uri="{FF2B5EF4-FFF2-40B4-BE49-F238E27FC236}">
                <a16:creationId xmlns:a16="http://schemas.microsoft.com/office/drawing/2014/main" id="{7544032D-AE81-FA7A-0407-CF941091E3D1}"/>
              </a:ext>
            </a:extLst>
          </p:cNvPr>
          <p:cNvGraphicFramePr>
            <a:graphicFrameLocks noGrp="1"/>
          </p:cNvGraphicFramePr>
          <p:nvPr/>
        </p:nvGraphicFramePr>
        <p:xfrm>
          <a:off x="2073537" y="2036369"/>
          <a:ext cx="7813413" cy="3962671"/>
        </p:xfrm>
        <a:graphic>
          <a:graphicData uri="http://schemas.openxmlformats.org/drawingml/2006/table">
            <a:tbl>
              <a:tblPr/>
              <a:tblGrid>
                <a:gridCol w="1765038">
                  <a:extLst>
                    <a:ext uri="{9D8B030D-6E8A-4147-A177-3AD203B41FA5}">
                      <a16:colId xmlns:a16="http://schemas.microsoft.com/office/drawing/2014/main" val="2192362464"/>
                    </a:ext>
                  </a:extLst>
                </a:gridCol>
                <a:gridCol w="2016125">
                  <a:extLst>
                    <a:ext uri="{9D8B030D-6E8A-4147-A177-3AD203B41FA5}">
                      <a16:colId xmlns:a16="http://schemas.microsoft.com/office/drawing/2014/main" val="38109813"/>
                    </a:ext>
                  </a:extLst>
                </a:gridCol>
                <a:gridCol w="2016125">
                  <a:extLst>
                    <a:ext uri="{9D8B030D-6E8A-4147-A177-3AD203B41FA5}">
                      <a16:colId xmlns:a16="http://schemas.microsoft.com/office/drawing/2014/main" val="2381456569"/>
                    </a:ext>
                  </a:extLst>
                </a:gridCol>
                <a:gridCol w="2016125">
                  <a:extLst>
                    <a:ext uri="{9D8B030D-6E8A-4147-A177-3AD203B41FA5}">
                      <a16:colId xmlns:a16="http://schemas.microsoft.com/office/drawing/2014/main" val="1999380374"/>
                    </a:ext>
                  </a:extLst>
                </a:gridCol>
              </a:tblGrid>
              <a:tr h="571196">
                <a:tc>
                  <a:txBody>
                    <a:bodyPr/>
                    <a:lstStyle/>
                    <a:p>
                      <a:endParaRPr lang="en-US" noProof="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200" b="1" noProof="0"/>
                        <a:t>Validation</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b="1" noProof="0"/>
                        <a:t>Monitoring</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b="1" noProof="0"/>
                        <a:t>Calibr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466981408"/>
                  </a:ext>
                </a:extLst>
              </a:tr>
              <a:tr h="678295">
                <a:tc>
                  <a:txBody>
                    <a:bodyPr/>
                    <a:lstStyle/>
                    <a:p>
                      <a:r>
                        <a:rPr lang="en-US" sz="1200" b="1" noProof="0"/>
                        <a:t>Purchase/Rent/</a:t>
                      </a:r>
                      <a:br>
                        <a:rPr lang="en-US" sz="1200" b="1" noProof="0"/>
                      </a:br>
                      <a:r>
                        <a:rPr lang="en-US" sz="1200" b="1" noProof="0"/>
                        <a:t>Lease Equipment</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1839059365"/>
                  </a:ext>
                </a:extLst>
              </a:tr>
              <a:tr h="678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a:t>Consulting &amp; Engineer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320721219"/>
                  </a:ext>
                </a:extLst>
              </a:tr>
              <a:tr h="678295">
                <a:tc>
                  <a:txBody>
                    <a:bodyPr/>
                    <a:lstStyle/>
                    <a:p>
                      <a:r>
                        <a:rPr lang="en-US" sz="1200" b="1" noProof="0"/>
                        <a:t>Managed Services</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4001011268"/>
                  </a:ext>
                </a:extLst>
              </a:tr>
              <a:tr h="678295">
                <a:tc>
                  <a:txBody>
                    <a:bodyPr/>
                    <a:lstStyle/>
                    <a:p>
                      <a:r>
                        <a:rPr lang="en-US" sz="1200" b="1" noProof="0"/>
                        <a:t>On-Site or In-Lab Calibration</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1770354826"/>
                  </a:ext>
                </a:extLst>
              </a:tr>
              <a:tr h="678295">
                <a:tc>
                  <a:txBody>
                    <a:bodyPr/>
                    <a:lstStyle/>
                    <a:p>
                      <a:r>
                        <a:rPr lang="en-US" sz="1200" b="1" noProof="0"/>
                        <a:t>Staffing/Residen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2216768059"/>
                  </a:ext>
                </a:extLst>
              </a:tr>
            </a:tbl>
          </a:graphicData>
        </a:graphic>
      </p:graphicFrame>
      <p:sp>
        <p:nvSpPr>
          <p:cNvPr id="5" name="Rectangle 1">
            <a:extLst>
              <a:ext uri="{FF2B5EF4-FFF2-40B4-BE49-F238E27FC236}">
                <a16:creationId xmlns:a16="http://schemas.microsoft.com/office/drawing/2014/main" id="{EBE09431-89FA-B2C2-B103-C3C3A7C9B020}"/>
              </a:ext>
            </a:extLst>
          </p:cNvPr>
          <p:cNvSpPr>
            <a:spLocks noChangeArrowheads="1"/>
          </p:cNvSpPr>
          <p:nvPr/>
        </p:nvSpPr>
        <p:spPr bwMode="auto">
          <a:xfrm>
            <a:off x="877198" y="1930194"/>
            <a:ext cx="1069916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da-DK"/>
          </a:p>
        </p:txBody>
      </p:sp>
      <p:grpSp>
        <p:nvGrpSpPr>
          <p:cNvPr id="7" name="Group 6">
            <a:extLst>
              <a:ext uri="{FF2B5EF4-FFF2-40B4-BE49-F238E27FC236}">
                <a16:creationId xmlns:a16="http://schemas.microsoft.com/office/drawing/2014/main" id="{0F111184-5A27-B0A1-04DE-F4275DBFA5D9}"/>
              </a:ext>
            </a:extLst>
          </p:cNvPr>
          <p:cNvGrpSpPr/>
          <p:nvPr/>
        </p:nvGrpSpPr>
        <p:grpSpPr>
          <a:xfrm>
            <a:off x="4723939" y="2853792"/>
            <a:ext cx="172844" cy="167999"/>
            <a:chOff x="3499809" y="-565278"/>
            <a:chExt cx="129633" cy="125999"/>
          </a:xfrm>
        </p:grpSpPr>
        <p:sp>
          <p:nvSpPr>
            <p:cNvPr id="8" name="Rounded Rectangle 152">
              <a:extLst>
                <a:ext uri="{FF2B5EF4-FFF2-40B4-BE49-F238E27FC236}">
                  <a16:creationId xmlns:a16="http://schemas.microsoft.com/office/drawing/2014/main" id="{97C3BA09-90A0-C4ED-82DC-CA92851B752E}"/>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9" name="Straight Connector 8">
              <a:extLst>
                <a:ext uri="{FF2B5EF4-FFF2-40B4-BE49-F238E27FC236}">
                  <a16:creationId xmlns:a16="http://schemas.microsoft.com/office/drawing/2014/main" id="{78F8B49B-BE62-C83B-957C-4D7A8B8E07DD}"/>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A851184-09EE-8200-7B86-8B83DA6B279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997B54B2-878B-F8BE-C3BC-6BEA46126BAE}"/>
              </a:ext>
            </a:extLst>
          </p:cNvPr>
          <p:cNvGrpSpPr/>
          <p:nvPr/>
        </p:nvGrpSpPr>
        <p:grpSpPr>
          <a:xfrm>
            <a:off x="6789055" y="2848684"/>
            <a:ext cx="172844" cy="167999"/>
            <a:chOff x="3499809" y="-565278"/>
            <a:chExt cx="129633" cy="125999"/>
          </a:xfrm>
        </p:grpSpPr>
        <p:sp>
          <p:nvSpPr>
            <p:cNvPr id="12" name="Rounded Rectangle 152">
              <a:extLst>
                <a:ext uri="{FF2B5EF4-FFF2-40B4-BE49-F238E27FC236}">
                  <a16:creationId xmlns:a16="http://schemas.microsoft.com/office/drawing/2014/main" id="{EA96BAFF-0FC8-1874-B277-047CE3F90E9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3" name="Straight Connector 12">
              <a:extLst>
                <a:ext uri="{FF2B5EF4-FFF2-40B4-BE49-F238E27FC236}">
                  <a16:creationId xmlns:a16="http://schemas.microsoft.com/office/drawing/2014/main" id="{331F1BC5-80E3-08E8-BC12-1E95AF6B424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1077B93-B972-C623-D0E4-7E7592821397}"/>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4E2B2515-B373-5FFA-C665-4C6BBF84FF9F}"/>
              </a:ext>
            </a:extLst>
          </p:cNvPr>
          <p:cNvGrpSpPr/>
          <p:nvPr/>
        </p:nvGrpSpPr>
        <p:grpSpPr>
          <a:xfrm>
            <a:off x="8779187" y="2848684"/>
            <a:ext cx="172844" cy="167999"/>
            <a:chOff x="3499809" y="-565278"/>
            <a:chExt cx="129633" cy="125999"/>
          </a:xfrm>
        </p:grpSpPr>
        <p:sp>
          <p:nvSpPr>
            <p:cNvPr id="16" name="Rounded Rectangle 152">
              <a:extLst>
                <a:ext uri="{FF2B5EF4-FFF2-40B4-BE49-F238E27FC236}">
                  <a16:creationId xmlns:a16="http://schemas.microsoft.com/office/drawing/2014/main" id="{2CAB21B4-04C3-1DB4-1B6B-1240CD9F6DC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 name="Straight Connector 16">
              <a:extLst>
                <a:ext uri="{FF2B5EF4-FFF2-40B4-BE49-F238E27FC236}">
                  <a16:creationId xmlns:a16="http://schemas.microsoft.com/office/drawing/2014/main" id="{017B931E-DFF6-D678-8BE6-CE1CBA8234B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51137E9-3F2B-1E7B-5F9C-5EAB447F7BA3}"/>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09B3558-2597-2341-B67B-02D7C72BC772}"/>
              </a:ext>
            </a:extLst>
          </p:cNvPr>
          <p:cNvGrpSpPr/>
          <p:nvPr/>
        </p:nvGrpSpPr>
        <p:grpSpPr>
          <a:xfrm>
            <a:off x="4723939" y="3540033"/>
            <a:ext cx="172844" cy="167999"/>
            <a:chOff x="3499809" y="-565278"/>
            <a:chExt cx="129633" cy="125999"/>
          </a:xfrm>
        </p:grpSpPr>
        <p:sp>
          <p:nvSpPr>
            <p:cNvPr id="24" name="Rounded Rectangle 152">
              <a:extLst>
                <a:ext uri="{FF2B5EF4-FFF2-40B4-BE49-F238E27FC236}">
                  <a16:creationId xmlns:a16="http://schemas.microsoft.com/office/drawing/2014/main" id="{D05CB0B4-DCC2-7042-1A14-E135EACA8B9D}"/>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5" name="Straight Connector 24">
              <a:extLst>
                <a:ext uri="{FF2B5EF4-FFF2-40B4-BE49-F238E27FC236}">
                  <a16:creationId xmlns:a16="http://schemas.microsoft.com/office/drawing/2014/main" id="{019A71B1-AC29-0DE9-CA5F-2D5C5786ECC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93DE68F-2383-BD98-7326-135C44901687}"/>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AB2D4C53-03B4-A4A4-E079-20D818FA20B1}"/>
              </a:ext>
            </a:extLst>
          </p:cNvPr>
          <p:cNvGrpSpPr/>
          <p:nvPr/>
        </p:nvGrpSpPr>
        <p:grpSpPr>
          <a:xfrm>
            <a:off x="8779187" y="3535531"/>
            <a:ext cx="172844" cy="167999"/>
            <a:chOff x="3499809" y="-565278"/>
            <a:chExt cx="129633" cy="125999"/>
          </a:xfrm>
        </p:grpSpPr>
        <p:sp>
          <p:nvSpPr>
            <p:cNvPr id="32" name="Rounded Rectangle 152">
              <a:extLst>
                <a:ext uri="{FF2B5EF4-FFF2-40B4-BE49-F238E27FC236}">
                  <a16:creationId xmlns:a16="http://schemas.microsoft.com/office/drawing/2014/main" id="{B6444FFA-D764-A364-0711-15183D810B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3" name="Straight Connector 32">
              <a:extLst>
                <a:ext uri="{FF2B5EF4-FFF2-40B4-BE49-F238E27FC236}">
                  <a16:creationId xmlns:a16="http://schemas.microsoft.com/office/drawing/2014/main" id="{CA9ADADB-948C-D215-A3ED-61567E9EBEF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E2CC800-9874-0A96-8171-9E3F3A68962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4E09974C-D882-2F5F-CE3E-8F4DF33E40AC}"/>
              </a:ext>
            </a:extLst>
          </p:cNvPr>
          <p:cNvGrpSpPr/>
          <p:nvPr/>
        </p:nvGrpSpPr>
        <p:grpSpPr>
          <a:xfrm>
            <a:off x="4723939" y="4226775"/>
            <a:ext cx="172844" cy="167999"/>
            <a:chOff x="3499809" y="-565278"/>
            <a:chExt cx="129633" cy="125999"/>
          </a:xfrm>
        </p:grpSpPr>
        <p:sp>
          <p:nvSpPr>
            <p:cNvPr id="40" name="Rounded Rectangle 152">
              <a:extLst>
                <a:ext uri="{FF2B5EF4-FFF2-40B4-BE49-F238E27FC236}">
                  <a16:creationId xmlns:a16="http://schemas.microsoft.com/office/drawing/2014/main" id="{20DB92C5-C81F-F42D-17EB-CC250FCD1DD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1" name="Straight Connector 40">
              <a:extLst>
                <a:ext uri="{FF2B5EF4-FFF2-40B4-BE49-F238E27FC236}">
                  <a16:creationId xmlns:a16="http://schemas.microsoft.com/office/drawing/2014/main" id="{6607B94C-37EA-6F6E-D30E-3BB987C0FDB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A92F9EA7-E7D4-BDCB-B448-0F55F3ADADA4}"/>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5730A144-5613-8865-BEBB-02A22FF2D8F9}"/>
              </a:ext>
            </a:extLst>
          </p:cNvPr>
          <p:cNvGrpSpPr/>
          <p:nvPr/>
        </p:nvGrpSpPr>
        <p:grpSpPr>
          <a:xfrm>
            <a:off x="8779187" y="4221667"/>
            <a:ext cx="172844" cy="167999"/>
            <a:chOff x="3499809" y="-565278"/>
            <a:chExt cx="129633" cy="125999"/>
          </a:xfrm>
        </p:grpSpPr>
        <p:sp>
          <p:nvSpPr>
            <p:cNvPr id="48" name="Rounded Rectangle 152">
              <a:extLst>
                <a:ext uri="{FF2B5EF4-FFF2-40B4-BE49-F238E27FC236}">
                  <a16:creationId xmlns:a16="http://schemas.microsoft.com/office/drawing/2014/main" id="{C3BE3792-1F1D-155F-CAA0-B43DF75E886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9" name="Straight Connector 48">
              <a:extLst>
                <a:ext uri="{FF2B5EF4-FFF2-40B4-BE49-F238E27FC236}">
                  <a16:creationId xmlns:a16="http://schemas.microsoft.com/office/drawing/2014/main" id="{E13C91ED-C071-52AA-261F-5EF3689331D9}"/>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7891D1EC-E4C5-B7E7-FA7A-A09B429400D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26D273BC-81B5-3FFE-03C6-A18F91B1A327}"/>
              </a:ext>
            </a:extLst>
          </p:cNvPr>
          <p:cNvGrpSpPr/>
          <p:nvPr/>
        </p:nvGrpSpPr>
        <p:grpSpPr>
          <a:xfrm>
            <a:off x="4725077" y="4912100"/>
            <a:ext cx="172844" cy="167999"/>
            <a:chOff x="3499809" y="-565278"/>
            <a:chExt cx="129633" cy="125999"/>
          </a:xfrm>
        </p:grpSpPr>
        <p:sp>
          <p:nvSpPr>
            <p:cNvPr id="56" name="Rounded Rectangle 152">
              <a:extLst>
                <a:ext uri="{FF2B5EF4-FFF2-40B4-BE49-F238E27FC236}">
                  <a16:creationId xmlns:a16="http://schemas.microsoft.com/office/drawing/2014/main" id="{F036A9A2-BECF-8623-DE9A-B4B0E714351E}"/>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57" name="Straight Connector 56">
              <a:extLst>
                <a:ext uri="{FF2B5EF4-FFF2-40B4-BE49-F238E27FC236}">
                  <a16:creationId xmlns:a16="http://schemas.microsoft.com/office/drawing/2014/main" id="{61EA2DF7-181E-ECCF-1585-2C72D8CF73C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B2FBBC6C-21C3-B662-3EFB-A5EB00181CC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9D3C4D4A-0AB8-F153-BE91-296EDA2A8C34}"/>
              </a:ext>
            </a:extLst>
          </p:cNvPr>
          <p:cNvGrpSpPr/>
          <p:nvPr/>
        </p:nvGrpSpPr>
        <p:grpSpPr>
          <a:xfrm>
            <a:off x="8780325" y="4906992"/>
            <a:ext cx="172844" cy="167999"/>
            <a:chOff x="3499809" y="-565278"/>
            <a:chExt cx="129633" cy="125999"/>
          </a:xfrm>
        </p:grpSpPr>
        <p:sp>
          <p:nvSpPr>
            <p:cNvPr id="64" name="Rounded Rectangle 152">
              <a:extLst>
                <a:ext uri="{FF2B5EF4-FFF2-40B4-BE49-F238E27FC236}">
                  <a16:creationId xmlns:a16="http://schemas.microsoft.com/office/drawing/2014/main" id="{2B864093-5674-F124-F44A-23390B920F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65" name="Straight Connector 64">
              <a:extLst>
                <a:ext uri="{FF2B5EF4-FFF2-40B4-BE49-F238E27FC236}">
                  <a16:creationId xmlns:a16="http://schemas.microsoft.com/office/drawing/2014/main" id="{C80EC380-8DFA-F10C-86FF-62227429037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FC3BC5D5-5764-BDD2-9B72-CE50D8A55CE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73" name="TextBox 72">
            <a:extLst>
              <a:ext uri="{FF2B5EF4-FFF2-40B4-BE49-F238E27FC236}">
                <a16:creationId xmlns:a16="http://schemas.microsoft.com/office/drawing/2014/main" id="{DA9FED45-E1B0-88B0-2638-439CEC61523E}"/>
              </a:ext>
            </a:extLst>
          </p:cNvPr>
          <p:cNvSpPr txBox="1"/>
          <p:nvPr/>
        </p:nvSpPr>
        <p:spPr>
          <a:xfrm>
            <a:off x="1986820" y="1134733"/>
            <a:ext cx="4725552" cy="523220"/>
          </a:xfrm>
          <a:prstGeom prst="rect">
            <a:avLst/>
          </a:prstGeom>
          <a:noFill/>
        </p:spPr>
        <p:txBody>
          <a:bodyPr wrap="square" rtlCol="0">
            <a:spAutoFit/>
          </a:bodyPr>
          <a:lstStyle/>
          <a:p>
            <a:r>
              <a:rPr lang="en-GB" sz="2800" b="1">
                <a:solidFill>
                  <a:schemeClr val="accent4"/>
                </a:solidFill>
                <a:latin typeface="+mj-lt"/>
              </a:rPr>
              <a:t>Flexible </a:t>
            </a:r>
            <a:r>
              <a:rPr lang="en-GB" sz="2800" b="1">
                <a:solidFill>
                  <a:schemeClr val="bg1"/>
                </a:solidFill>
                <a:latin typeface="+mj-lt"/>
              </a:rPr>
              <a:t>Delivery Methods</a:t>
            </a:r>
            <a:endParaRPr lang="da-DK" sz="2400">
              <a:solidFill>
                <a:schemeClr val="bg1"/>
              </a:solidFill>
              <a:latin typeface="+mn-lt"/>
            </a:endParaRPr>
          </a:p>
        </p:txBody>
      </p:sp>
      <p:sp>
        <p:nvSpPr>
          <p:cNvPr id="74" name="Right Triangle 73">
            <a:extLst>
              <a:ext uri="{FF2B5EF4-FFF2-40B4-BE49-F238E27FC236}">
                <a16:creationId xmlns:a16="http://schemas.microsoft.com/office/drawing/2014/main" id="{9C6F3A72-98CE-3171-EAF3-75CE00CBCD89}"/>
              </a:ext>
            </a:extLst>
          </p:cNvPr>
          <p:cNvSpPr/>
          <p:nvPr/>
        </p:nvSpPr>
        <p:spPr>
          <a:xfrm rot="16200000">
            <a:off x="2656204" y="1423034"/>
            <a:ext cx="571502" cy="1774190"/>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nvGrpSpPr>
          <p:cNvPr id="3" name="Group 2">
            <a:extLst>
              <a:ext uri="{FF2B5EF4-FFF2-40B4-BE49-F238E27FC236}">
                <a16:creationId xmlns:a16="http://schemas.microsoft.com/office/drawing/2014/main" id="{7C4C34FF-D811-9D66-6BE4-7877EC4DBF9A}"/>
              </a:ext>
            </a:extLst>
          </p:cNvPr>
          <p:cNvGrpSpPr/>
          <p:nvPr/>
        </p:nvGrpSpPr>
        <p:grpSpPr>
          <a:xfrm>
            <a:off x="4723939" y="5597425"/>
            <a:ext cx="172844" cy="167999"/>
            <a:chOff x="3499809" y="-565278"/>
            <a:chExt cx="129633" cy="125999"/>
          </a:xfrm>
        </p:grpSpPr>
        <p:sp>
          <p:nvSpPr>
            <p:cNvPr id="4" name="Rounded Rectangle 152">
              <a:extLst>
                <a:ext uri="{FF2B5EF4-FFF2-40B4-BE49-F238E27FC236}">
                  <a16:creationId xmlns:a16="http://schemas.microsoft.com/office/drawing/2014/main" id="{1C55BA14-B2EB-6961-1299-AACC23F23AB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 name="Straight Connector 18">
              <a:extLst>
                <a:ext uri="{FF2B5EF4-FFF2-40B4-BE49-F238E27FC236}">
                  <a16:creationId xmlns:a16="http://schemas.microsoft.com/office/drawing/2014/main" id="{6DD51BCD-FB79-A1B5-0139-FE292E010DD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7FC17F6-55C5-9A0E-2D35-23B3AC970E0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534FB1C7-FF61-7676-2025-3E5960E8FF39}"/>
              </a:ext>
            </a:extLst>
          </p:cNvPr>
          <p:cNvGrpSpPr/>
          <p:nvPr/>
        </p:nvGrpSpPr>
        <p:grpSpPr>
          <a:xfrm>
            <a:off x="6787976" y="3540032"/>
            <a:ext cx="172844" cy="167999"/>
            <a:chOff x="3499809" y="-565278"/>
            <a:chExt cx="129633" cy="125999"/>
          </a:xfrm>
        </p:grpSpPr>
        <p:sp>
          <p:nvSpPr>
            <p:cNvPr id="22" name="Rounded Rectangle 152">
              <a:extLst>
                <a:ext uri="{FF2B5EF4-FFF2-40B4-BE49-F238E27FC236}">
                  <a16:creationId xmlns:a16="http://schemas.microsoft.com/office/drawing/2014/main" id="{EC9EFEA4-D6B5-5BC3-FB03-EE8E250995D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7" name="Straight Connector 26">
              <a:extLst>
                <a:ext uri="{FF2B5EF4-FFF2-40B4-BE49-F238E27FC236}">
                  <a16:creationId xmlns:a16="http://schemas.microsoft.com/office/drawing/2014/main" id="{A6C1F175-324A-273F-D69E-17C076E6A6F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27FF8B2-5A8E-788E-E428-065CD9F784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56521E28-ACB1-4BAE-32CE-C3A86BF8AE02}"/>
              </a:ext>
            </a:extLst>
          </p:cNvPr>
          <p:cNvGrpSpPr/>
          <p:nvPr/>
        </p:nvGrpSpPr>
        <p:grpSpPr>
          <a:xfrm>
            <a:off x="8779187" y="5597347"/>
            <a:ext cx="172844" cy="167999"/>
            <a:chOff x="3499809" y="-565278"/>
            <a:chExt cx="129633" cy="125999"/>
          </a:xfrm>
        </p:grpSpPr>
        <p:sp>
          <p:nvSpPr>
            <p:cNvPr id="30" name="Rounded Rectangle 152">
              <a:extLst>
                <a:ext uri="{FF2B5EF4-FFF2-40B4-BE49-F238E27FC236}">
                  <a16:creationId xmlns:a16="http://schemas.microsoft.com/office/drawing/2014/main" id="{06544CD1-9D87-D082-1E17-4105980FED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3" name="Straight Connector 42">
              <a:extLst>
                <a:ext uri="{FF2B5EF4-FFF2-40B4-BE49-F238E27FC236}">
                  <a16:creationId xmlns:a16="http://schemas.microsoft.com/office/drawing/2014/main" id="{E151D5E0-5B0B-EC0A-C8A2-4A412A547B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EC56F7FD-19CB-2634-5670-2287C3B8404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ED042B5-AB31-ECB9-331C-02FE9D8F075E}"/>
              </a:ext>
            </a:extLst>
          </p:cNvPr>
          <p:cNvGrpSpPr/>
          <p:nvPr/>
        </p:nvGrpSpPr>
        <p:grpSpPr>
          <a:xfrm>
            <a:off x="6787976" y="4220250"/>
            <a:ext cx="172844" cy="167999"/>
            <a:chOff x="3499809" y="-565278"/>
            <a:chExt cx="129633" cy="125999"/>
          </a:xfrm>
        </p:grpSpPr>
        <p:sp>
          <p:nvSpPr>
            <p:cNvPr id="36" name="Rounded Rectangle 152">
              <a:extLst>
                <a:ext uri="{FF2B5EF4-FFF2-40B4-BE49-F238E27FC236}">
                  <a16:creationId xmlns:a16="http://schemas.microsoft.com/office/drawing/2014/main" id="{9C0F5721-F788-7084-9E4E-8192A20EDD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7" name="Straight Connector 36">
              <a:extLst>
                <a:ext uri="{FF2B5EF4-FFF2-40B4-BE49-F238E27FC236}">
                  <a16:creationId xmlns:a16="http://schemas.microsoft.com/office/drawing/2014/main" id="{53088D14-8064-2DAF-3AFB-D63400A7406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AA51C16-17F4-B862-522E-A5EE2CDD63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C9F5134-243E-64AE-EF55-D1099DAC4F76}"/>
              </a:ext>
            </a:extLst>
          </p:cNvPr>
          <p:cNvGrpSpPr/>
          <p:nvPr/>
        </p:nvGrpSpPr>
        <p:grpSpPr>
          <a:xfrm>
            <a:off x="6787976" y="4905575"/>
            <a:ext cx="172844" cy="167999"/>
            <a:chOff x="3499809" y="-565278"/>
            <a:chExt cx="129633" cy="125999"/>
          </a:xfrm>
        </p:grpSpPr>
        <p:sp>
          <p:nvSpPr>
            <p:cNvPr id="46" name="Rounded Rectangle 152">
              <a:extLst>
                <a:ext uri="{FF2B5EF4-FFF2-40B4-BE49-F238E27FC236}">
                  <a16:creationId xmlns:a16="http://schemas.microsoft.com/office/drawing/2014/main" id="{B7101338-F97A-E7DE-6459-5DC8698CC0A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51" name="Straight Connector 50">
              <a:extLst>
                <a:ext uri="{FF2B5EF4-FFF2-40B4-BE49-F238E27FC236}">
                  <a16:creationId xmlns:a16="http://schemas.microsoft.com/office/drawing/2014/main" id="{DFF3D49B-A2AA-ADC3-262C-E4DFC0B02EB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2D8CFA6-4E1B-13A2-F2EF-865578908A3F}"/>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2295395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0593A24-14DF-B063-D4F0-AA40438A0498}"/>
              </a:ext>
            </a:extLst>
          </p:cNvPr>
          <p:cNvSpPr>
            <a:spLocks noGrp="1"/>
          </p:cNvSpPr>
          <p:nvPr>
            <p:ph type="title"/>
          </p:nvPr>
        </p:nvSpPr>
        <p:spPr>
          <a:xfrm>
            <a:off x="371475" y="944563"/>
            <a:ext cx="2802300" cy="1725613"/>
          </a:xfrm>
        </p:spPr>
        <p:txBody>
          <a:bodyPr/>
          <a:lstStyle/>
          <a:p>
            <a:pPr>
              <a:lnSpc>
                <a:spcPct val="100000"/>
              </a:lnSpc>
            </a:pPr>
            <a:r>
              <a:rPr lang="en-GB" sz="3600"/>
              <a:t>How Do We Think To the Future?</a:t>
            </a:r>
            <a:endParaRPr lang="en-US" sz="3600"/>
          </a:p>
        </p:txBody>
      </p:sp>
    </p:spTree>
    <p:extLst>
      <p:ext uri="{BB962C8B-B14F-4D97-AF65-F5344CB8AC3E}">
        <p14:creationId xmlns:p14="http://schemas.microsoft.com/office/powerpoint/2010/main" val="311059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a:extLst>
            <a:ext uri="{FF2B5EF4-FFF2-40B4-BE49-F238E27FC236}">
              <a16:creationId xmlns:a16="http://schemas.microsoft.com/office/drawing/2014/main" id="{7602B7E6-77AF-ADDB-FAC0-D9B939D3B8FD}"/>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EFCB072B-0B7D-E5AF-63F1-D5D9F3B17390}"/>
              </a:ext>
            </a:extLst>
          </p:cNvPr>
          <p:cNvSpPr/>
          <p:nvPr/>
        </p:nvSpPr>
        <p:spPr>
          <a:xfrm>
            <a:off x="77715" y="6339948"/>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3C67227-D2BE-5E25-AC50-8A1118A6DC4D}"/>
              </a:ext>
            </a:extLst>
          </p:cNvPr>
          <p:cNvSpPr/>
          <p:nvPr/>
        </p:nvSpPr>
        <p:spPr>
          <a:xfrm>
            <a:off x="4352925" y="441325"/>
            <a:ext cx="3219450" cy="641667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30E70DCD-8FAE-81C1-7218-BA0E21E0D53B}"/>
              </a:ext>
            </a:extLst>
          </p:cNvPr>
          <p:cNvSpPr>
            <a:spLocks noGrp="1"/>
          </p:cNvSpPr>
          <p:nvPr>
            <p:ph type="body" sz="half" idx="10"/>
          </p:nvPr>
        </p:nvSpPr>
        <p:spPr>
          <a:xfrm>
            <a:off x="7698659" y="768701"/>
            <a:ext cx="3952568" cy="4047262"/>
          </a:xfrm>
        </p:spPr>
        <p:txBody>
          <a:bodyPr/>
          <a:lstStyle/>
          <a:p>
            <a:r>
              <a:rPr lang="en-US" dirty="0">
                <a:solidFill>
                  <a:schemeClr val="tx2"/>
                </a:solidFill>
                <a:latin typeface="Ellab Sans Light" panose="02000503000000020004" pitchFamily="2" charset="0"/>
                <a:ea typeface="Ellab Sans Light" panose="02000503000000020004" pitchFamily="2" charset="0"/>
              </a:rPr>
              <a:t>With the goal of minimizing our environmental footprint while maximizing value for our customers by</a:t>
            </a:r>
            <a:r>
              <a:rPr lang="en-US" b="0" dirty="0">
                <a:solidFill>
                  <a:schemeClr val="tx2"/>
                </a:solidFill>
                <a:effectLst/>
                <a:latin typeface="Ellab Sans Light" panose="02000503000000020004" pitchFamily="2" charset="0"/>
                <a:ea typeface="Ellab Sans Light" panose="02000503000000020004" pitchFamily="2" charset="0"/>
              </a:rPr>
              <a:t> </a:t>
            </a:r>
            <a:r>
              <a:rPr lang="en-US" b="1" dirty="0">
                <a:solidFill>
                  <a:schemeClr val="tx2"/>
                </a:solidFill>
                <a:effectLst/>
                <a:latin typeface="Ellab Sans Light" panose="02000503000000020004" pitchFamily="2" charset="0"/>
                <a:ea typeface="Ellab Sans Light" panose="02000503000000020004" pitchFamily="2" charset="0"/>
              </a:rPr>
              <a:t>integrating sustainability into</a:t>
            </a:r>
            <a:r>
              <a:rPr lang="en-US" b="0" dirty="0">
                <a:solidFill>
                  <a:schemeClr val="tx2"/>
                </a:solidFill>
                <a:effectLst/>
                <a:latin typeface="Ellab Sans Light" panose="02000503000000020004" pitchFamily="2" charset="0"/>
                <a:ea typeface="Ellab Sans Light" panose="02000503000000020004" pitchFamily="2" charset="0"/>
              </a:rPr>
              <a:t>:</a:t>
            </a: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Product Innovation</a:t>
            </a:r>
            <a:endParaRPr lang="en-US" dirty="0">
              <a:solidFill>
                <a:schemeClr val="tx2"/>
              </a:solidFill>
              <a:latin typeface="Ellab Sans Light" panose="02000503000000020004" pitchFamily="2" charset="0"/>
              <a:ea typeface="Ellab Sans Light" panose="02000503000000020004" pitchFamily="2" charset="0"/>
            </a:endParaRP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Operational Optimization</a:t>
            </a: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Supply </a:t>
            </a:r>
            <a:r>
              <a:rPr lang="en-US" dirty="0">
                <a:solidFill>
                  <a:schemeClr val="tx2"/>
                </a:solidFill>
                <a:latin typeface="Ellab Sans Light" panose="02000503000000020004" pitchFamily="2" charset="0"/>
                <a:ea typeface="Ellab Sans Light" panose="02000503000000020004" pitchFamily="2" charset="0"/>
              </a:rPr>
              <a:t>C</a:t>
            </a:r>
            <a:r>
              <a:rPr lang="en-US" dirty="0">
                <a:solidFill>
                  <a:schemeClr val="tx2"/>
                </a:solidFill>
                <a:effectLst/>
                <a:latin typeface="Ellab Sans Light" panose="02000503000000020004" pitchFamily="2" charset="0"/>
                <a:ea typeface="Ellab Sans Light" panose="02000503000000020004" pitchFamily="2" charset="0"/>
              </a:rPr>
              <a:t>hain Partners</a:t>
            </a:r>
            <a:endParaRPr lang="en-US" dirty="0">
              <a:latin typeface="Ellab Sans Light" panose="02000503000000020004" pitchFamily="2" charset="0"/>
              <a:ea typeface="Ellab Sans Light" panose="02000503000000020004" pitchFamily="2" charset="0"/>
            </a:endParaRPr>
          </a:p>
          <a:p>
            <a:pPr marL="285750" indent="-285750">
              <a:buFont typeface="Arial" panose="020B0604020202020204" pitchFamily="34" charset="0"/>
              <a:buChar char="•"/>
            </a:pPr>
            <a:endParaRPr lang="en-US" b="0" dirty="0">
              <a:solidFill>
                <a:schemeClr val="tx2"/>
              </a:solidFill>
              <a:effectLst/>
              <a:latin typeface="Ellab Sans Light" panose="02000503000000020004" pitchFamily="2" charset="0"/>
              <a:ea typeface="Ellab Sans Light" panose="02000503000000020004" pitchFamily="2" charset="0"/>
            </a:endParaRPr>
          </a:p>
          <a:p>
            <a:r>
              <a:rPr lang="en-US" b="0" dirty="0">
                <a:solidFill>
                  <a:schemeClr val="tx2"/>
                </a:solidFill>
                <a:effectLst/>
                <a:latin typeface="Ellab Sans Light" panose="02000503000000020004" pitchFamily="2" charset="0"/>
                <a:ea typeface="Ellab Sans Light" panose="02000503000000020004" pitchFamily="2" charset="0"/>
              </a:rPr>
              <a:t>Our ambition is to continuously drive improvements that support long-term growth,  customer success, and the planet’s well-being.</a:t>
            </a:r>
          </a:p>
          <a:p>
            <a:br>
              <a:rPr lang="en-US" b="0" dirty="0">
                <a:latin typeface="Ellab Sans Light" panose="02000403000000020004" pitchFamily="2" charset="0"/>
                <a:ea typeface="Ellab Sans Light" panose="02000403000000020004" pitchFamily="2" charset="0"/>
                <a:cs typeface="Ellab Sans Light" panose="02000403000000020004" pitchFamily="2" charset="0"/>
              </a:rPr>
            </a:br>
            <a:r>
              <a:rPr lang="en-US" b="1" dirty="0">
                <a:effectLst/>
                <a:latin typeface="Ellab Sans Light" panose="02000403000000020004" pitchFamily="2" charset="0"/>
                <a:ea typeface="Ellab Sans Light" panose="02000403000000020004" pitchFamily="2" charset="0"/>
                <a:cs typeface="Ellab Sans Light" panose="02000403000000020004" pitchFamily="2" charset="0"/>
              </a:rPr>
              <a:t>Sustainability is not just a goal; but a core pillar of Ellab’s strategic vision.</a:t>
            </a:r>
          </a:p>
          <a:p>
            <a:endParaRPr lang="en-US" b="1" dirty="0">
              <a:solidFill>
                <a:schemeClr val="bg2"/>
              </a:solidFill>
            </a:endParaRPr>
          </a:p>
          <a:p>
            <a:endParaRPr lang="en-US" b="1" dirty="0">
              <a:solidFill>
                <a:schemeClr val="bg2"/>
              </a:solidFill>
            </a:endParaRPr>
          </a:p>
          <a:p>
            <a:endParaRPr lang="en-US" b="1" dirty="0">
              <a:solidFill>
                <a:schemeClr val="bg2"/>
              </a:solidFill>
            </a:endParaRPr>
          </a:p>
          <a:p>
            <a:endParaRPr lang="en-US" b="1" dirty="0">
              <a:solidFill>
                <a:schemeClr val="bg2"/>
              </a:solidFill>
            </a:endParaRPr>
          </a:p>
          <a:p>
            <a:endParaRPr lang="en-US" dirty="0"/>
          </a:p>
        </p:txBody>
      </p:sp>
      <p:sp>
        <p:nvSpPr>
          <p:cNvPr id="2" name="Text Placeholder 1">
            <a:extLst>
              <a:ext uri="{FF2B5EF4-FFF2-40B4-BE49-F238E27FC236}">
                <a16:creationId xmlns:a16="http://schemas.microsoft.com/office/drawing/2014/main" id="{1AC5C5CE-A3CC-B0A3-872A-A9AC6B440EE4}"/>
              </a:ext>
            </a:extLst>
          </p:cNvPr>
          <p:cNvSpPr>
            <a:spLocks noGrp="1"/>
          </p:cNvSpPr>
          <p:nvPr>
            <p:ph type="body" sz="half" idx="2"/>
          </p:nvPr>
        </p:nvSpPr>
        <p:spPr>
          <a:xfrm>
            <a:off x="77715" y="2247767"/>
            <a:ext cx="3850112" cy="2092881"/>
          </a:xfrm>
        </p:spPr>
        <p:txBody>
          <a:bodyPr/>
          <a:lstStyle/>
          <a:p>
            <a:pPr algn="r">
              <a:lnSpc>
                <a:spcPct val="100000"/>
              </a:lnSpc>
            </a:pPr>
            <a:r>
              <a:rPr lang="en-US" sz="2800" b="1">
                <a:solidFill>
                  <a:schemeClr val="tx2"/>
                </a:solidFill>
                <a:effectLst/>
              </a:rPr>
              <a:t>We work to embed </a:t>
            </a:r>
            <a:r>
              <a:rPr lang="en-US" sz="2800" b="1">
                <a:solidFill>
                  <a:schemeClr val="bg1"/>
                </a:solidFill>
                <a:effectLst/>
              </a:rPr>
              <a:t>sustainability</a:t>
            </a:r>
            <a:r>
              <a:rPr lang="en-US" sz="2800" b="1">
                <a:solidFill>
                  <a:schemeClr val="tx2"/>
                </a:solidFill>
                <a:effectLst/>
              </a:rPr>
              <a:t> into the company’s strategic development</a:t>
            </a:r>
            <a:br>
              <a:rPr lang="en-US" sz="1200" b="0"/>
            </a:br>
            <a:br>
              <a:rPr lang="en-US" sz="1200" b="0"/>
            </a:br>
            <a:endParaRPr lang="en-US" sz="1200"/>
          </a:p>
        </p:txBody>
      </p:sp>
      <p:sp>
        <p:nvSpPr>
          <p:cNvPr id="7" name="Rectangle 6">
            <a:extLst>
              <a:ext uri="{FF2B5EF4-FFF2-40B4-BE49-F238E27FC236}">
                <a16:creationId xmlns:a16="http://schemas.microsoft.com/office/drawing/2014/main" id="{AC68E419-C5DD-49F2-946F-DD9CC83027E0}"/>
              </a:ext>
            </a:extLst>
          </p:cNvPr>
          <p:cNvSpPr>
            <a:spLocks noGrp="1" noRot="1" noMove="1" noResize="1" noEditPoints="1" noAdjustHandles="1" noChangeArrowheads="1" noChangeShapeType="1"/>
          </p:cNvSpPr>
          <p:nvPr/>
        </p:nvSpPr>
        <p:spPr>
          <a:xfrm>
            <a:off x="113620" y="107316"/>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and white logo&#10;&#10;AI-generated content may be incorrect.">
            <a:extLst>
              <a:ext uri="{FF2B5EF4-FFF2-40B4-BE49-F238E27FC236}">
                <a16:creationId xmlns:a16="http://schemas.microsoft.com/office/drawing/2014/main" id="{D810581B-96E7-AD21-EB65-F54111887918}"/>
              </a:ext>
            </a:extLst>
          </p:cNvPr>
          <p:cNvPicPr>
            <a:picLocks noGrp="1" noRot="1" noChangeAspect="1" noMove="1" noResize="1" noEditPoints="1" noAdjustHandles="1" noChangeArrowheads="1" noChangeShapeType="1" noCrop="1"/>
          </p:cNvPicPr>
          <p:nvPr/>
        </p:nvPicPr>
        <p:blipFill>
          <a:blip r:embed="rId3"/>
          <a:stretch>
            <a:fillRect/>
          </a:stretch>
        </p:blipFill>
        <p:spPr>
          <a:xfrm>
            <a:off x="153194" y="190500"/>
            <a:ext cx="552388" cy="290832"/>
          </a:xfrm>
          <a:prstGeom prst="rect">
            <a:avLst/>
          </a:prstGeom>
        </p:spPr>
      </p:pic>
      <p:sp>
        <p:nvSpPr>
          <p:cNvPr id="11" name="TextBox 10">
            <a:extLst>
              <a:ext uri="{FF2B5EF4-FFF2-40B4-BE49-F238E27FC236}">
                <a16:creationId xmlns:a16="http://schemas.microsoft.com/office/drawing/2014/main" id="{CC2E1E59-9B4E-2EF1-0709-30A58BACC908}"/>
              </a:ext>
            </a:extLst>
          </p:cNvPr>
          <p:cNvSpPr txBox="1">
            <a:spLocks noGrp="1" noRot="1" noMove="1" noResize="1" noEditPoints="1" noAdjustHandles="1" noChangeArrowheads="1" noChangeShapeType="1"/>
          </p:cNvSpPr>
          <p:nvPr/>
        </p:nvSpPr>
        <p:spPr>
          <a:xfrm>
            <a:off x="78545" y="6339948"/>
            <a:ext cx="942975" cy="415498"/>
          </a:xfrm>
          <a:prstGeom prst="rect">
            <a:avLst/>
          </a:prstGeom>
          <a:noFill/>
        </p:spPr>
        <p:txBody>
          <a:bodyPr wrap="square" rtlCol="0">
            <a:spAutoFit/>
          </a:bodyPr>
          <a:lstStyle/>
          <a:p>
            <a:r>
              <a:rPr lang="en-US" sz="700">
                <a:solidFill>
                  <a:schemeClr val="tx2"/>
                </a:solidFill>
                <a:latin typeface="Ellab Sans Medium" panose="02000503000000020004" pitchFamily="2" charset="0"/>
                <a:ea typeface="Ellab Sans Medium" panose="02000503000000020004" pitchFamily="2" charset="0"/>
              </a:rPr>
              <a:t>Your Life Science</a:t>
            </a:r>
          </a:p>
          <a:p>
            <a:r>
              <a:rPr lang="en-US" sz="700">
                <a:solidFill>
                  <a:schemeClr val="tx2"/>
                </a:solidFill>
                <a:latin typeface="Ellab Sans Medium" panose="02000503000000020004" pitchFamily="2" charset="0"/>
                <a:ea typeface="Ellab Sans Medium" panose="02000503000000020004" pitchFamily="2" charset="0"/>
              </a:rPr>
              <a:t>Compliance</a:t>
            </a:r>
          </a:p>
          <a:p>
            <a:r>
              <a:rPr lang="en-US" sz="700">
                <a:solidFill>
                  <a:schemeClr val="bg1"/>
                </a:solidFill>
                <a:latin typeface="Ellab Sans Medium" panose="02000503000000020004" pitchFamily="2" charset="0"/>
                <a:ea typeface="Ellab Sans Medium" panose="02000503000000020004" pitchFamily="2" charset="0"/>
              </a:rPr>
              <a:t>Partner</a:t>
            </a:r>
          </a:p>
        </p:txBody>
      </p:sp>
      <p:pic>
        <p:nvPicPr>
          <p:cNvPr id="14" name="Picture 13" descr="A group of trees with green leaves&#10;&#10;AI-generated content may be incorrect.">
            <a:extLst>
              <a:ext uri="{FF2B5EF4-FFF2-40B4-BE49-F238E27FC236}">
                <a16:creationId xmlns:a16="http://schemas.microsoft.com/office/drawing/2014/main" id="{CCC66F90-FD95-B19A-B84B-36A32701290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75969" y="0"/>
            <a:ext cx="3162300" cy="6858000"/>
          </a:xfrm>
          <a:prstGeom prst="rect">
            <a:avLst/>
          </a:prstGeom>
        </p:spPr>
      </p:pic>
      <p:pic>
        <p:nvPicPr>
          <p:cNvPr id="8" name="Picture 7" descr="A tree with green leaves&#10;&#10;AI-generated content may be incorrect.">
            <a:extLst>
              <a:ext uri="{FF2B5EF4-FFF2-40B4-BE49-F238E27FC236}">
                <a16:creationId xmlns:a16="http://schemas.microsoft.com/office/drawing/2014/main" id="{C144D152-6273-8961-5512-526C4722E7D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095750" y="-28575"/>
            <a:ext cx="3162300" cy="6858000"/>
          </a:xfrm>
          <a:prstGeom prst="rect">
            <a:avLst/>
          </a:prstGeom>
        </p:spPr>
      </p:pic>
      <p:sp>
        <p:nvSpPr>
          <p:cNvPr id="3" name="Content Placeholder 3">
            <a:extLst>
              <a:ext uri="{FF2B5EF4-FFF2-40B4-BE49-F238E27FC236}">
                <a16:creationId xmlns:a16="http://schemas.microsoft.com/office/drawing/2014/main" id="{7B137C5C-C020-F73A-642A-716D18F8B73D}"/>
              </a:ext>
            </a:extLst>
          </p:cNvPr>
          <p:cNvSpPr txBox="1">
            <a:spLocks/>
          </p:cNvSpPr>
          <p:nvPr/>
        </p:nvSpPr>
        <p:spPr bwMode="auto">
          <a:xfrm>
            <a:off x="7698658" y="4104288"/>
            <a:ext cx="449334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bg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endParaRPr lang="en-US"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a:p>
            <a:r>
              <a:rPr lang="en-US" dirty="0">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Our commitment aligns with </a:t>
            </a:r>
            <a:r>
              <a:rPr lang="en-US" b="1" dirty="0">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global standards</a:t>
            </a:r>
            <a:r>
              <a:rPr lang="en-US" dirty="0">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a:t>
            </a:r>
          </a:p>
          <a:p>
            <a:endParaRPr lang="en-US" dirty="0">
              <a:solidFill>
                <a:schemeClr val="bg2"/>
              </a:solidFill>
              <a:latin typeface="Ellab Sans Light" panose="02000503000000020004" pitchFamily="2" charset="0"/>
              <a:ea typeface="Ellab Sans Light" panose="02000503000000020004" pitchFamily="2" charset="0"/>
            </a:endParaRPr>
          </a:p>
        </p:txBody>
      </p:sp>
      <p:grpSp>
        <p:nvGrpSpPr>
          <p:cNvPr id="19" name="Group 18">
            <a:extLst>
              <a:ext uri="{FF2B5EF4-FFF2-40B4-BE49-F238E27FC236}">
                <a16:creationId xmlns:a16="http://schemas.microsoft.com/office/drawing/2014/main" id="{C9A3B0D4-4D1D-B6A4-4D97-8B2231780420}"/>
              </a:ext>
            </a:extLst>
          </p:cNvPr>
          <p:cNvGrpSpPr/>
          <p:nvPr/>
        </p:nvGrpSpPr>
        <p:grpSpPr>
          <a:xfrm>
            <a:off x="7698659" y="4627482"/>
            <a:ext cx="3845181" cy="1832922"/>
            <a:chOff x="8006938" y="3931319"/>
            <a:chExt cx="3641887" cy="2370503"/>
          </a:xfrm>
        </p:grpSpPr>
        <p:sp>
          <p:nvSpPr>
            <p:cNvPr id="5" name="Rectangle: Rounded Corners 4">
              <a:extLst>
                <a:ext uri="{FF2B5EF4-FFF2-40B4-BE49-F238E27FC236}">
                  <a16:creationId xmlns:a16="http://schemas.microsoft.com/office/drawing/2014/main" id="{CC025D89-E758-E247-ABE1-32ECC0F5F87D}"/>
                </a:ext>
              </a:extLst>
            </p:cNvPr>
            <p:cNvSpPr/>
            <p:nvPr/>
          </p:nvSpPr>
          <p:spPr>
            <a:xfrm>
              <a:off x="8006940" y="5170939"/>
              <a:ext cx="1736263"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SBTi</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9" name="Rectangle: Rounded Corners 8">
              <a:extLst>
                <a:ext uri="{FF2B5EF4-FFF2-40B4-BE49-F238E27FC236}">
                  <a16:creationId xmlns:a16="http://schemas.microsoft.com/office/drawing/2014/main" id="{5AB410FC-D074-6EBC-845D-B0AB2422AA46}"/>
                </a:ext>
              </a:extLst>
            </p:cNvPr>
            <p:cNvSpPr/>
            <p:nvPr/>
          </p:nvSpPr>
          <p:spPr>
            <a:xfrm>
              <a:off x="8006938" y="5790749"/>
              <a:ext cx="2216991"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Renewable Energy Sourcing</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3" name="Rectangle: Rounded Corners 12">
              <a:extLst>
                <a:ext uri="{FF2B5EF4-FFF2-40B4-BE49-F238E27FC236}">
                  <a16:creationId xmlns:a16="http://schemas.microsoft.com/office/drawing/2014/main" id="{56DB81AA-3AA2-CAAF-5E4A-3F9BE77DAF01}"/>
                </a:ext>
              </a:extLst>
            </p:cNvPr>
            <p:cNvSpPr/>
            <p:nvPr/>
          </p:nvSpPr>
          <p:spPr>
            <a:xfrm>
              <a:off x="8006939" y="4551129"/>
              <a:ext cx="1374936" cy="511073"/>
            </a:xfrm>
            <a:prstGeom prst="roundRect">
              <a:avLst>
                <a:gd name="adj" fmla="val 0"/>
              </a:avLst>
            </a:prstGeom>
            <a:gradFill>
              <a:gsLst>
                <a:gs pos="0">
                  <a:schemeClr val="accent1">
                    <a:lumMod val="5000"/>
                    <a:lumOff val="95000"/>
                    <a:alpha val="0"/>
                  </a:schemeClr>
                </a:gs>
                <a:gs pos="97000">
                  <a:srgbClr val="74B90F"/>
                </a:gs>
              </a:gsLst>
              <a:lin ang="108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ISO 14001</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5" name="Rectangle: Rounded Corners 14">
              <a:extLst>
                <a:ext uri="{FF2B5EF4-FFF2-40B4-BE49-F238E27FC236}">
                  <a16:creationId xmlns:a16="http://schemas.microsoft.com/office/drawing/2014/main" id="{2360AC7E-39EF-9DC4-A0E2-525D77C9BCD9}"/>
                </a:ext>
              </a:extLst>
            </p:cNvPr>
            <p:cNvSpPr/>
            <p:nvPr/>
          </p:nvSpPr>
          <p:spPr>
            <a:xfrm>
              <a:off x="9882873" y="5170939"/>
              <a:ext cx="1765952"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CDP</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6" name="Rectangle: Rounded Corners 15">
              <a:extLst>
                <a:ext uri="{FF2B5EF4-FFF2-40B4-BE49-F238E27FC236}">
                  <a16:creationId xmlns:a16="http://schemas.microsoft.com/office/drawing/2014/main" id="{00E6A85D-54D8-3A45-7F64-509CF58863DB}"/>
                </a:ext>
              </a:extLst>
            </p:cNvPr>
            <p:cNvSpPr/>
            <p:nvPr/>
          </p:nvSpPr>
          <p:spPr>
            <a:xfrm>
              <a:off x="10364984" y="5790749"/>
              <a:ext cx="1283840"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Circular Design</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7" name="Rectangle: Rounded Corners 16">
              <a:extLst>
                <a:ext uri="{FF2B5EF4-FFF2-40B4-BE49-F238E27FC236}">
                  <a16:creationId xmlns:a16="http://schemas.microsoft.com/office/drawing/2014/main" id="{FF68C206-DA48-594E-131B-BE48E2F1C74B}"/>
                </a:ext>
              </a:extLst>
            </p:cNvPr>
            <p:cNvSpPr/>
            <p:nvPr/>
          </p:nvSpPr>
          <p:spPr>
            <a:xfrm>
              <a:off x="9508158" y="4551129"/>
              <a:ext cx="2140667"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Fleet Electrification</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8" name="Rectangle: Rounded Corners 17">
              <a:extLst>
                <a:ext uri="{FF2B5EF4-FFF2-40B4-BE49-F238E27FC236}">
                  <a16:creationId xmlns:a16="http://schemas.microsoft.com/office/drawing/2014/main" id="{1E678691-ABF6-103C-91A0-A2AA4195A66E}"/>
                </a:ext>
              </a:extLst>
            </p:cNvPr>
            <p:cNvSpPr/>
            <p:nvPr/>
          </p:nvSpPr>
          <p:spPr>
            <a:xfrm>
              <a:off x="8006938" y="3931319"/>
              <a:ext cx="3641886" cy="511073"/>
            </a:xfrm>
            <a:prstGeom prst="roundRect">
              <a:avLst>
                <a:gd name="adj" fmla="val 0"/>
              </a:avLst>
            </a:prstGeom>
            <a:gradFill>
              <a:gsLst>
                <a:gs pos="0">
                  <a:schemeClr val="accent1">
                    <a:lumMod val="5000"/>
                    <a:lumOff val="95000"/>
                    <a:alpha val="0"/>
                  </a:schemeClr>
                </a:gs>
                <a:gs pos="97000">
                  <a:srgbClr val="74B90F"/>
                </a:gs>
              </a:gsLst>
              <a:lin ang="216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Life Cycle Assessment</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grpSp>
    </p:spTree>
    <p:extLst>
      <p:ext uri="{BB962C8B-B14F-4D97-AF65-F5344CB8AC3E}">
        <p14:creationId xmlns:p14="http://schemas.microsoft.com/office/powerpoint/2010/main" val="249686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2" presetClass="entr" presetSubtype="1" decel="10000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1400" fill="hold"/>
                                        <p:tgtEl>
                                          <p:spTgt spid="8"/>
                                        </p:tgtEl>
                                        <p:attrNameLst>
                                          <p:attrName>ppt_x</p:attrName>
                                        </p:attrNameLst>
                                      </p:cBhvr>
                                      <p:tavLst>
                                        <p:tav tm="0">
                                          <p:val>
                                            <p:strVal val="#ppt_x"/>
                                          </p:val>
                                        </p:tav>
                                        <p:tav tm="100000">
                                          <p:val>
                                            <p:strVal val="#ppt_x"/>
                                          </p:val>
                                        </p:tav>
                                      </p:tavLst>
                                    </p:anim>
                                    <p:anim calcmode="lin" valueType="num">
                                      <p:cBhvr additive="base">
                                        <p:cTn id="13" dur="1400" fill="hold"/>
                                        <p:tgtEl>
                                          <p:spTgt spid="8"/>
                                        </p:tgtEl>
                                        <p:attrNameLst>
                                          <p:attrName>ppt_y</p:attrName>
                                        </p:attrNameLst>
                                      </p:cBhvr>
                                      <p:tavLst>
                                        <p:tav tm="0">
                                          <p:val>
                                            <p:strVal val="0-#ppt_h/2"/>
                                          </p:val>
                                        </p:tav>
                                        <p:tav tm="100000">
                                          <p:val>
                                            <p:strVal val="#ppt_y"/>
                                          </p:val>
                                        </p:tav>
                                      </p:tavLst>
                                    </p:anim>
                                  </p:childTnLst>
                                </p:cTn>
                              </p:par>
                              <p:par>
                                <p:cTn id="14" presetID="2" presetClass="entr" presetSubtype="4" decel="100000" fill="hold" nodeType="withEffect">
                                  <p:stCondLst>
                                    <p:cond delay="30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500" fill="hold"/>
                                        <p:tgtEl>
                                          <p:spTgt spid="14"/>
                                        </p:tgtEl>
                                        <p:attrNameLst>
                                          <p:attrName>ppt_x</p:attrName>
                                        </p:attrNameLst>
                                      </p:cBhvr>
                                      <p:tavLst>
                                        <p:tav tm="0">
                                          <p:val>
                                            <p:strVal val="#ppt_x"/>
                                          </p:val>
                                        </p:tav>
                                        <p:tav tm="100000">
                                          <p:val>
                                            <p:strVal val="#ppt_x"/>
                                          </p:val>
                                        </p:tav>
                                      </p:tavLst>
                                    </p:anim>
                                    <p:anim calcmode="lin" valueType="num">
                                      <p:cBhvr additive="base">
                                        <p:cTn id="17" dur="1500" fill="hold"/>
                                        <p:tgtEl>
                                          <p:spTgt spid="14"/>
                                        </p:tgtEl>
                                        <p:attrNameLst>
                                          <p:attrName>ppt_y</p:attrName>
                                        </p:attrNameLst>
                                      </p:cBhvr>
                                      <p:tavLst>
                                        <p:tav tm="0">
                                          <p:val>
                                            <p:strVal val="1+#ppt_h/2"/>
                                          </p:val>
                                        </p:tav>
                                        <p:tav tm="100000">
                                          <p:val>
                                            <p:strVal val="#ppt_y"/>
                                          </p:val>
                                        </p:tav>
                                      </p:tavLst>
                                    </p:anim>
                                  </p:childTnLst>
                                </p:cTn>
                              </p:par>
                            </p:childTnLst>
                          </p:cTn>
                        </p:par>
                        <p:par>
                          <p:cTn id="18" fill="hold">
                            <p:stCondLst>
                              <p:cond delay="1800"/>
                            </p:stCondLst>
                            <p:childTnLst>
                              <p:par>
                                <p:cTn id="19" presetID="42" presetClass="entr" presetSubtype="0" fill="hold" grpId="0" nodeType="after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Effect transition="in" filter="fade">
                                      <p:cBhvr>
                                        <p:cTn id="21" dur="1000"/>
                                        <p:tgtEl>
                                          <p:spTgt spid="4">
                                            <p:txEl>
                                              <p:pRg st="0" end="0"/>
                                            </p:txEl>
                                          </p:spTgt>
                                        </p:tgtEl>
                                      </p:cBhvr>
                                    </p:animEffect>
                                    <p:anim calcmode="lin" valueType="num">
                                      <p:cBhvr>
                                        <p:cTn id="22"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0" end="0"/>
                                            </p:txEl>
                                          </p:spTgt>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1000"/>
                                        <p:tgtEl>
                                          <p:spTgt spid="4">
                                            <p:txEl>
                                              <p:pRg st="5" end="5"/>
                                            </p:txEl>
                                          </p:spTgt>
                                        </p:tgtEl>
                                      </p:cBhvr>
                                    </p:animEffect>
                                    <p:anim calcmode="lin" valueType="num">
                                      <p:cBhvr>
                                        <p:cTn id="27"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28" dur="1000" fill="hold"/>
                                        <p:tgtEl>
                                          <p:spTgt spid="4">
                                            <p:txEl>
                                              <p:pRg st="5" end="5"/>
                                            </p:txEl>
                                          </p:spTgt>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1000"/>
                                        <p:tgtEl>
                                          <p:spTgt spid="4">
                                            <p:txEl>
                                              <p:pRg st="6" end="6"/>
                                            </p:txEl>
                                          </p:spTgt>
                                        </p:tgtEl>
                                      </p:cBhvr>
                                    </p:animEffect>
                                    <p:anim calcmode="lin" valueType="num">
                                      <p:cBhvr>
                                        <p:cTn id="32"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4">
                                            <p:txEl>
                                              <p:pRg st="6" end="6"/>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4">
                                            <p:txEl>
                                              <p:pRg st="1" end="1"/>
                                            </p:txEl>
                                          </p:spTgt>
                                        </p:tgtEl>
                                        <p:attrNameLst>
                                          <p:attrName>style.visibility</p:attrName>
                                        </p:attrNameLst>
                                      </p:cBhvr>
                                      <p:to>
                                        <p:strVal val="visible"/>
                                      </p:to>
                                    </p:set>
                                    <p:animEffect transition="in" filter="fade">
                                      <p:cBhvr>
                                        <p:cTn id="36" dur="1000"/>
                                        <p:tgtEl>
                                          <p:spTgt spid="4">
                                            <p:txEl>
                                              <p:pRg st="1" end="1"/>
                                            </p:txEl>
                                          </p:spTgt>
                                        </p:tgtEl>
                                      </p:cBhvr>
                                    </p:animEffect>
                                    <p:anim calcmode="lin" valueType="num">
                                      <p:cBhvr>
                                        <p:cTn id="37"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38" dur="1000" fill="hold"/>
                                        <p:tgtEl>
                                          <p:spTgt spid="4">
                                            <p:txEl>
                                              <p:pRg st="1" end="1"/>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4">
                                            <p:txEl>
                                              <p:pRg st="2" end="2"/>
                                            </p:txEl>
                                          </p:spTgt>
                                        </p:tgtEl>
                                        <p:attrNameLst>
                                          <p:attrName>style.visibility</p:attrName>
                                        </p:attrNameLst>
                                      </p:cBhvr>
                                      <p:to>
                                        <p:strVal val="visible"/>
                                      </p:to>
                                    </p:set>
                                    <p:animEffect transition="in" filter="fade">
                                      <p:cBhvr>
                                        <p:cTn id="41" dur="1000"/>
                                        <p:tgtEl>
                                          <p:spTgt spid="4">
                                            <p:txEl>
                                              <p:pRg st="2" end="2"/>
                                            </p:txEl>
                                          </p:spTgt>
                                        </p:tgtEl>
                                      </p:cBhvr>
                                    </p:animEffect>
                                    <p:anim calcmode="lin" valueType="num">
                                      <p:cBhvr>
                                        <p:cTn id="4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43" dur="1000" fill="hold"/>
                                        <p:tgtEl>
                                          <p:spTgt spid="4">
                                            <p:txEl>
                                              <p:pRg st="2" end="2"/>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4">
                                            <p:txEl>
                                              <p:pRg st="3" end="3"/>
                                            </p:txEl>
                                          </p:spTgt>
                                        </p:tgtEl>
                                        <p:attrNameLst>
                                          <p:attrName>style.visibility</p:attrName>
                                        </p:attrNameLst>
                                      </p:cBhvr>
                                      <p:to>
                                        <p:strVal val="visible"/>
                                      </p:to>
                                    </p:set>
                                    <p:animEffect transition="in" filter="fade">
                                      <p:cBhvr>
                                        <p:cTn id="46" dur="1000"/>
                                        <p:tgtEl>
                                          <p:spTgt spid="4">
                                            <p:txEl>
                                              <p:pRg st="3" end="3"/>
                                            </p:txEl>
                                          </p:spTgt>
                                        </p:tgtEl>
                                      </p:cBhvr>
                                    </p:animEffect>
                                    <p:anim calcmode="lin" valueType="num">
                                      <p:cBhvr>
                                        <p:cTn id="47"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48" dur="1000" fill="hold"/>
                                        <p:tgtEl>
                                          <p:spTgt spid="4">
                                            <p:txEl>
                                              <p:pRg st="3" end="3"/>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1000"/>
                                        <p:tgtEl>
                                          <p:spTgt spid="3"/>
                                        </p:tgtEl>
                                      </p:cBhvr>
                                    </p:animEffect>
                                    <p:anim calcmode="lin" valueType="num">
                                      <p:cBhvr>
                                        <p:cTn id="52" dur="1000" fill="hold"/>
                                        <p:tgtEl>
                                          <p:spTgt spid="3"/>
                                        </p:tgtEl>
                                        <p:attrNameLst>
                                          <p:attrName>ppt_x</p:attrName>
                                        </p:attrNameLst>
                                      </p:cBhvr>
                                      <p:tavLst>
                                        <p:tav tm="0">
                                          <p:val>
                                            <p:strVal val="#ppt_x"/>
                                          </p:val>
                                        </p:tav>
                                        <p:tav tm="100000">
                                          <p:val>
                                            <p:strVal val="#ppt_x"/>
                                          </p:val>
                                        </p:tav>
                                      </p:tavLst>
                                    </p:anim>
                                    <p:anim calcmode="lin" valueType="num">
                                      <p:cBhvr>
                                        <p:cTn id="53" dur="1000" fill="hold"/>
                                        <p:tgtEl>
                                          <p:spTgt spid="3"/>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1000"/>
                                        <p:tgtEl>
                                          <p:spTgt spid="19"/>
                                        </p:tgtEl>
                                      </p:cBhvr>
                                    </p:animEffect>
                                    <p:anim calcmode="lin" valueType="num">
                                      <p:cBhvr>
                                        <p:cTn id="57" dur="1000" fill="hold"/>
                                        <p:tgtEl>
                                          <p:spTgt spid="19"/>
                                        </p:tgtEl>
                                        <p:attrNameLst>
                                          <p:attrName>ppt_x</p:attrName>
                                        </p:attrNameLst>
                                      </p:cBhvr>
                                      <p:tavLst>
                                        <p:tav tm="0">
                                          <p:val>
                                            <p:strVal val="#ppt_x"/>
                                          </p:val>
                                        </p:tav>
                                        <p:tav tm="100000">
                                          <p:val>
                                            <p:strVal val="#ppt_x"/>
                                          </p:val>
                                        </p:tav>
                                      </p:tavLst>
                                    </p:anim>
                                    <p:anim calcmode="lin" valueType="num">
                                      <p:cBhvr>
                                        <p:cTn id="58"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 grpId="0" build="p"/>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8CCF4-FCE3-43A9-F8EF-71C317CC7F59}"/>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9A0E32-9525-D4E3-FF7D-2615CECD4032}"/>
              </a:ext>
            </a:extLst>
          </p:cNvPr>
          <p:cNvSpPr>
            <a:spLocks/>
          </p:cNvSpPr>
          <p:nvPr/>
        </p:nvSpPr>
        <p:spPr>
          <a:xfrm rot="19556569">
            <a:off x="-2761341" y="-2667025"/>
            <a:ext cx="14682822" cy="7158620"/>
          </a:xfrm>
          <a:custGeom>
            <a:avLst/>
            <a:gdLst>
              <a:gd name="connsiteX0" fmla="*/ 0 w 14524835"/>
              <a:gd name="connsiteY0" fmla="*/ 0 h 7884800"/>
              <a:gd name="connsiteX1" fmla="*/ 14524835 w 14524835"/>
              <a:gd name="connsiteY1" fmla="*/ 0 h 7884800"/>
              <a:gd name="connsiteX2" fmla="*/ 14524835 w 14524835"/>
              <a:gd name="connsiteY2" fmla="*/ 7884800 h 7884800"/>
              <a:gd name="connsiteX3" fmla="*/ 0 w 14524835"/>
              <a:gd name="connsiteY3" fmla="*/ 7884800 h 7884800"/>
              <a:gd name="connsiteX4" fmla="*/ 0 w 14524835"/>
              <a:gd name="connsiteY4" fmla="*/ 0 h 7884800"/>
              <a:gd name="connsiteX0" fmla="*/ 0 w 14524835"/>
              <a:gd name="connsiteY0" fmla="*/ 7151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0 w 14524835"/>
              <a:gd name="connsiteY5" fmla="*/ 7151 h 7891951"/>
              <a:gd name="connsiteX0" fmla="*/ 848989 w 14524835"/>
              <a:gd name="connsiteY0" fmla="*/ 2742466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848989 w 14524835"/>
              <a:gd name="connsiteY5" fmla="*/ 2742466 h 7891951"/>
              <a:gd name="connsiteX0" fmla="*/ 0 w 14682822"/>
              <a:gd name="connsiteY0" fmla="*/ 6522613 h 7891951"/>
              <a:gd name="connsiteX1" fmla="*/ 3180047 w 14682822"/>
              <a:gd name="connsiteY1" fmla="*/ 0 h 7891951"/>
              <a:gd name="connsiteX2" fmla="*/ 14682822 w 14682822"/>
              <a:gd name="connsiteY2" fmla="*/ 7151 h 7891951"/>
              <a:gd name="connsiteX3" fmla="*/ 14682822 w 14682822"/>
              <a:gd name="connsiteY3" fmla="*/ 7891951 h 7891951"/>
              <a:gd name="connsiteX4" fmla="*/ 157987 w 14682822"/>
              <a:gd name="connsiteY4" fmla="*/ 7891951 h 7891951"/>
              <a:gd name="connsiteX5" fmla="*/ 0 w 14682822"/>
              <a:gd name="connsiteY5" fmla="*/ 6522613 h 7891951"/>
              <a:gd name="connsiteX0" fmla="*/ 0 w 14682822"/>
              <a:gd name="connsiteY0" fmla="*/ 6515462 h 7884800"/>
              <a:gd name="connsiteX1" fmla="*/ 3549844 w 14682822"/>
              <a:gd name="connsiteY1" fmla="*/ 1101258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599518 w 14682822"/>
              <a:gd name="connsiteY1" fmla="*/ 1594715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834040 w 14682822"/>
              <a:gd name="connsiteY1" fmla="*/ 726180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5789282 h 7158620"/>
              <a:gd name="connsiteX1" fmla="*/ 3834040 w 14682822"/>
              <a:gd name="connsiteY1" fmla="*/ 0 h 7158620"/>
              <a:gd name="connsiteX2" fmla="*/ 11296802 w 14682822"/>
              <a:gd name="connsiteY2" fmla="*/ 4373721 h 7158620"/>
              <a:gd name="connsiteX3" fmla="*/ 14682822 w 14682822"/>
              <a:gd name="connsiteY3" fmla="*/ 7158620 h 7158620"/>
              <a:gd name="connsiteX4" fmla="*/ 157987 w 14682822"/>
              <a:gd name="connsiteY4" fmla="*/ 7158620 h 7158620"/>
              <a:gd name="connsiteX5" fmla="*/ 0 w 14682822"/>
              <a:gd name="connsiteY5" fmla="*/ 5789282 h 71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82822" h="7158620">
                <a:moveTo>
                  <a:pt x="0" y="5789282"/>
                </a:moveTo>
                <a:lnTo>
                  <a:pt x="3834040" y="0"/>
                </a:lnTo>
                <a:lnTo>
                  <a:pt x="11296802" y="4373721"/>
                </a:lnTo>
                <a:lnTo>
                  <a:pt x="14682822" y="7158620"/>
                </a:lnTo>
                <a:lnTo>
                  <a:pt x="157987" y="7158620"/>
                </a:lnTo>
                <a:lnTo>
                  <a:pt x="0" y="5789282"/>
                </a:lnTo>
                <a:close/>
              </a:path>
            </a:pathLst>
          </a:custGeom>
          <a:solidFill>
            <a:srgbClr val="00ADE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A7D72E6-257D-1ECE-6997-7B575D91F4B0}"/>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AA7D72E6-257D-1ECE-6997-7B575D91F4B0}"/>
                          </a:ext>
                        </a:extLst>
                      </p:cNvPr>
                      <p:cNvPicPr/>
                      <p:nvPr/>
                    </p:nvPicPr>
                    <p:blipFill>
                      <a:blip r:embed="rId5"/>
                      <a:stretch>
                        <a:fillRect/>
                      </a:stretch>
                    </p:blipFill>
                    <p:spPr>
                      <a:xfrm>
                        <a:off x="611505" y="1905"/>
                        <a:ext cx="1906" cy="1906"/>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021B9C0-6A88-67E8-6C2F-88147F5198E8}"/>
              </a:ext>
            </a:extLst>
          </p:cNvPr>
          <p:cNvSpPr>
            <a:spLocks noGrp="1"/>
          </p:cNvSpPr>
          <p:nvPr>
            <p:ph type="title"/>
          </p:nvPr>
        </p:nvSpPr>
        <p:spPr/>
        <p:txBody>
          <a:bodyPr vert="horz"/>
          <a:lstStyle/>
          <a:p>
            <a:r>
              <a:rPr lang="en-US" sz="2400"/>
              <a:t>Who Do We Partner With?</a:t>
            </a:r>
          </a:p>
        </p:txBody>
      </p:sp>
      <p:sp>
        <p:nvSpPr>
          <p:cNvPr id="7" name="Text Placeholder 6">
            <a:extLst>
              <a:ext uri="{FF2B5EF4-FFF2-40B4-BE49-F238E27FC236}">
                <a16:creationId xmlns:a16="http://schemas.microsoft.com/office/drawing/2014/main" id="{793B4A6E-256B-6A92-C9A4-376A8534C19B}"/>
              </a:ext>
            </a:extLst>
          </p:cNvPr>
          <p:cNvSpPr>
            <a:spLocks noGrp="1"/>
          </p:cNvSpPr>
          <p:nvPr>
            <p:ph type="body" sz="half" idx="2"/>
          </p:nvPr>
        </p:nvSpPr>
        <p:spPr/>
        <p:txBody>
          <a:bodyPr/>
          <a:lstStyle/>
          <a:p>
            <a:r>
              <a:rPr lang="en-GB">
                <a:solidFill>
                  <a:schemeClr val="bg1"/>
                </a:solidFill>
              </a:rPr>
              <a:t>We’re proud to work with all the top brands within the life science industry:</a:t>
            </a:r>
            <a:endParaRPr lang="en-US">
              <a:solidFill>
                <a:schemeClr val="bg1"/>
              </a:solidFill>
            </a:endParaRPr>
          </a:p>
        </p:txBody>
      </p:sp>
      <p:sp>
        <p:nvSpPr>
          <p:cNvPr id="27" name="Text Placeholder 15">
            <a:extLst>
              <a:ext uri="{FF2B5EF4-FFF2-40B4-BE49-F238E27FC236}">
                <a16:creationId xmlns:a16="http://schemas.microsoft.com/office/drawing/2014/main" id="{D82C01DD-AD01-F2FD-04E5-863BA66688D8}"/>
              </a:ext>
            </a:extLst>
          </p:cNvPr>
          <p:cNvSpPr txBox="1">
            <a:spLocks/>
          </p:cNvSpPr>
          <p:nvPr/>
        </p:nvSpPr>
        <p:spPr>
          <a:xfrm>
            <a:off x="8344731" y="3835524"/>
            <a:ext cx="3306163" cy="1483369"/>
          </a:xfrm>
          <a:prstGeom prst="rect">
            <a:avLst/>
          </a:prstGeom>
        </p:spPr>
        <p:txBody>
          <a:bodyPr/>
          <a:lstStyle>
            <a:lvl1pPr marL="171450" indent="-171450" algn="ctr" defTabSz="685800" rtl="0" eaLnBrk="1" fontAlgn="base" hangingPunct="1">
              <a:lnSpc>
                <a:spcPct val="150000"/>
              </a:lnSpc>
              <a:spcBef>
                <a:spcPts val="750"/>
              </a:spcBef>
              <a:spcAft>
                <a:spcPct val="0"/>
              </a:spcAft>
              <a:buFont typeface="Arial" panose="020B0604020202020204" pitchFamily="34" charset="0"/>
              <a:buNone/>
              <a:defRPr sz="1167"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960">
                <a:solidFill>
                  <a:schemeClr val="bg1"/>
                </a:solidFill>
                <a:latin typeface="+mj-lt"/>
              </a:rPr>
              <a:t>“We are very satisfied with the flexibility and support we received from Ellab. The project was changed several times during the entire process, but we never experienced any issues. After the demo, we were blown away by the possibilities of the software and the user-friendliness of the hardware.”</a:t>
            </a:r>
          </a:p>
        </p:txBody>
      </p:sp>
      <p:sp>
        <p:nvSpPr>
          <p:cNvPr id="28" name="Text Placeholder 15">
            <a:extLst>
              <a:ext uri="{FF2B5EF4-FFF2-40B4-BE49-F238E27FC236}">
                <a16:creationId xmlns:a16="http://schemas.microsoft.com/office/drawing/2014/main" id="{E10B336D-B49F-DA22-D621-CBC2CE593CFA}"/>
              </a:ext>
            </a:extLst>
          </p:cNvPr>
          <p:cNvSpPr txBox="1">
            <a:spLocks/>
          </p:cNvSpPr>
          <p:nvPr/>
        </p:nvSpPr>
        <p:spPr>
          <a:xfrm>
            <a:off x="8333564" y="3191821"/>
            <a:ext cx="2959027" cy="700485"/>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AvenirNext LT Pro Medium"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1400">
                <a:solidFill>
                  <a:srgbClr val="0F9CD8"/>
                </a:solidFill>
                <a:latin typeface="+mj-lt"/>
              </a:rPr>
              <a:t>Validating the Sterilization Process at Pfizer Manufacturing</a:t>
            </a:r>
          </a:p>
        </p:txBody>
      </p:sp>
      <p:sp>
        <p:nvSpPr>
          <p:cNvPr id="29" name="Text Placeholder 15">
            <a:extLst>
              <a:ext uri="{FF2B5EF4-FFF2-40B4-BE49-F238E27FC236}">
                <a16:creationId xmlns:a16="http://schemas.microsoft.com/office/drawing/2014/main" id="{B99305CB-0F37-F2B9-BF86-CD15E7148E48}"/>
              </a:ext>
            </a:extLst>
          </p:cNvPr>
          <p:cNvSpPr txBox="1">
            <a:spLocks/>
          </p:cNvSpPr>
          <p:nvPr/>
        </p:nvSpPr>
        <p:spPr>
          <a:xfrm>
            <a:off x="8333564" y="5347750"/>
            <a:ext cx="1510423" cy="415757"/>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000"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GB" sz="960" b="1">
                <a:solidFill>
                  <a:schemeClr val="bg1"/>
                </a:solidFill>
                <a:latin typeface="+mj-lt"/>
              </a:rPr>
              <a:t>Pfizer Manufacturing,</a:t>
            </a:r>
          </a:p>
          <a:p>
            <a:pPr algn="l"/>
            <a:r>
              <a:rPr lang="en-GB" sz="960" b="1">
                <a:solidFill>
                  <a:schemeClr val="bg1"/>
                </a:solidFill>
                <a:latin typeface="+mj-lt"/>
              </a:rPr>
              <a:t>Belgium NV</a:t>
            </a:r>
          </a:p>
        </p:txBody>
      </p:sp>
      <p:grpSp>
        <p:nvGrpSpPr>
          <p:cNvPr id="38" name="Group 37">
            <a:extLst>
              <a:ext uri="{FF2B5EF4-FFF2-40B4-BE49-F238E27FC236}">
                <a16:creationId xmlns:a16="http://schemas.microsoft.com/office/drawing/2014/main" id="{B5DFB70C-6126-592C-1DEC-B74B8D36504D}"/>
              </a:ext>
            </a:extLst>
          </p:cNvPr>
          <p:cNvGrpSpPr/>
          <p:nvPr/>
        </p:nvGrpSpPr>
        <p:grpSpPr>
          <a:xfrm>
            <a:off x="6089834" y="3182701"/>
            <a:ext cx="2106935" cy="1941196"/>
            <a:chOff x="5884446" y="2902274"/>
            <a:chExt cx="2106935" cy="1941196"/>
          </a:xfrm>
        </p:grpSpPr>
        <p:pic>
          <p:nvPicPr>
            <p:cNvPr id="37" name="Picture 36" descr="A sign on a wall&#10;&#10;AI-generated content may be incorrect.">
              <a:extLst>
                <a:ext uri="{FF2B5EF4-FFF2-40B4-BE49-F238E27FC236}">
                  <a16:creationId xmlns:a16="http://schemas.microsoft.com/office/drawing/2014/main" id="{5226A310-860D-980A-238B-F2BEFFA62EF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468"/>
            <a:stretch/>
          </p:blipFill>
          <p:spPr>
            <a:xfrm>
              <a:off x="6165478" y="3005147"/>
              <a:ext cx="1725842" cy="1725842"/>
            </a:xfrm>
            <a:prstGeom prst="ellipse">
              <a:avLst/>
            </a:prstGeom>
          </p:spPr>
        </p:pic>
        <p:sp>
          <p:nvSpPr>
            <p:cNvPr id="12" name="Freeform 11">
              <a:extLst>
                <a:ext uri="{FF2B5EF4-FFF2-40B4-BE49-F238E27FC236}">
                  <a16:creationId xmlns:a16="http://schemas.microsoft.com/office/drawing/2014/main" id="{32766F26-B2D7-9623-1AB6-25DD4CDF5D60}"/>
                </a:ext>
              </a:extLst>
            </p:cNvPr>
            <p:cNvSpPr/>
            <p:nvPr/>
          </p:nvSpPr>
          <p:spPr bwMode="auto">
            <a:xfrm rot="9600000">
              <a:off x="6050186" y="2902274"/>
              <a:ext cx="1941195" cy="1941196"/>
            </a:xfrm>
            <a:custGeom>
              <a:avLst/>
              <a:gdLst>
                <a:gd name="connsiteX0" fmla="*/ 1948995 w 3897868"/>
                <a:gd name="connsiteY0" fmla="*/ 60 h 3897867"/>
                <a:gd name="connsiteX1" fmla="*/ 3897929 w 3897868"/>
                <a:gd name="connsiteY1" fmla="*/ 1948994 h 3897867"/>
                <a:gd name="connsiteX2" fmla="*/ 1949223 w 3897868"/>
                <a:gd name="connsiteY2" fmla="*/ 3897927 h 3897867"/>
                <a:gd name="connsiteX3" fmla="*/ 1948995 w 3897868"/>
                <a:gd name="connsiteY3" fmla="*/ 3897927 h 3897867"/>
                <a:gd name="connsiteX4" fmla="*/ 61 w 3897868"/>
                <a:gd name="connsiteY4" fmla="*/ 1948994 h 3897867"/>
                <a:gd name="connsiteX5" fmla="*/ 595265 w 3897868"/>
                <a:gd name="connsiteY5" fmla="*/ 546940 h 38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868" h="3897867">
                  <a:moveTo>
                    <a:pt x="1948995" y="60"/>
                  </a:moveTo>
                  <a:cubicBezTo>
                    <a:pt x="3025358" y="60"/>
                    <a:pt x="3897929" y="872631"/>
                    <a:pt x="3897929" y="1948994"/>
                  </a:cubicBezTo>
                  <a:cubicBezTo>
                    <a:pt x="3897992" y="3025297"/>
                    <a:pt x="3025526" y="3897865"/>
                    <a:pt x="1949223" y="3897927"/>
                  </a:cubicBezTo>
                  <a:cubicBezTo>
                    <a:pt x="1949147" y="3897927"/>
                    <a:pt x="1949071" y="3897927"/>
                    <a:pt x="1948995" y="3897927"/>
                  </a:cubicBezTo>
                  <a:cubicBezTo>
                    <a:pt x="872632" y="3897927"/>
                    <a:pt x="61" y="3025356"/>
                    <a:pt x="61" y="1948994"/>
                  </a:cubicBezTo>
                  <a:cubicBezTo>
                    <a:pt x="-518" y="1420135"/>
                    <a:pt x="214403" y="913868"/>
                    <a:pt x="595265" y="546940"/>
                  </a:cubicBezTo>
                </a:path>
              </a:pathLst>
            </a:custGeom>
            <a:noFill/>
            <a:ln w="28521" cap="flat">
              <a:solidFill>
                <a:schemeClr val="bg2"/>
              </a:solid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nvGrpSpPr>
            <p:cNvPr id="13" name="Graphic 6">
              <a:extLst>
                <a:ext uri="{FF2B5EF4-FFF2-40B4-BE49-F238E27FC236}">
                  <a16:creationId xmlns:a16="http://schemas.microsoft.com/office/drawing/2014/main" id="{65CFC905-6844-4044-501E-D6D137BFC9BA}"/>
                </a:ext>
              </a:extLst>
            </p:cNvPr>
            <p:cNvGrpSpPr>
              <a:grpSpLocks/>
            </p:cNvGrpSpPr>
            <p:nvPr/>
          </p:nvGrpSpPr>
          <p:grpSpPr bwMode="auto">
            <a:xfrm>
              <a:off x="7461791" y="4399605"/>
              <a:ext cx="501016" cy="390526"/>
              <a:chOff x="6982550" y="4487563"/>
              <a:chExt cx="1005307" cy="783604"/>
            </a:xfrm>
          </p:grpSpPr>
          <p:grpSp>
            <p:nvGrpSpPr>
              <p:cNvPr id="14" name="Graphic 6">
                <a:extLst>
                  <a:ext uri="{FF2B5EF4-FFF2-40B4-BE49-F238E27FC236}">
                    <a16:creationId xmlns:a16="http://schemas.microsoft.com/office/drawing/2014/main" id="{4181B1C0-C673-716B-A570-C35EE912BEFC}"/>
                  </a:ext>
                </a:extLst>
              </p:cNvPr>
              <p:cNvGrpSpPr>
                <a:grpSpLocks/>
              </p:cNvGrpSpPr>
              <p:nvPr/>
            </p:nvGrpSpPr>
            <p:grpSpPr bwMode="auto">
              <a:xfrm>
                <a:off x="6982550" y="4487563"/>
                <a:ext cx="439583" cy="783604"/>
                <a:chOff x="6982550" y="4487563"/>
                <a:chExt cx="439583" cy="783604"/>
              </a:xfrm>
            </p:grpSpPr>
            <p:sp>
              <p:nvSpPr>
                <p:cNvPr id="18" name="Freeform 17">
                  <a:extLst>
                    <a:ext uri="{FF2B5EF4-FFF2-40B4-BE49-F238E27FC236}">
                      <a16:creationId xmlns:a16="http://schemas.microsoft.com/office/drawing/2014/main" id="{148A3CBF-3E29-43D8-A0A2-EA7E5EC0582D}"/>
                    </a:ext>
                  </a:extLst>
                </p:cNvPr>
                <p:cNvSpPr/>
                <p:nvPr/>
              </p:nvSpPr>
              <p:spPr>
                <a:xfrm>
                  <a:off x="6982550" y="4487563"/>
                  <a:ext cx="439583" cy="783604"/>
                </a:xfrm>
                <a:custGeom>
                  <a:avLst/>
                  <a:gdLst>
                    <a:gd name="connsiteX0" fmla="*/ 358 w 439470"/>
                    <a:gd name="connsiteY0" fmla="*/ 701098 h 785277"/>
                    <a:gd name="connsiteX1" fmla="*/ 192104 w 439470"/>
                    <a:gd name="connsiteY1" fmla="*/ 429940 h 785277"/>
                    <a:gd name="connsiteX2" fmla="*/ 358 w 439470"/>
                    <a:gd name="connsiteY2" fmla="*/ 429940 h 785277"/>
                    <a:gd name="connsiteX3" fmla="*/ 358 w 439470"/>
                    <a:gd name="connsiteY3" fmla="*/ 376 h 785277"/>
                    <a:gd name="connsiteX4" fmla="*/ 439828 w 439470"/>
                    <a:gd name="connsiteY4" fmla="*/ 376 h 785277"/>
                    <a:gd name="connsiteX5" fmla="*/ 439828 w 439470"/>
                    <a:gd name="connsiteY5" fmla="*/ 429940 h 785277"/>
                    <a:gd name="connsiteX6" fmla="*/ 439419 w 439470"/>
                    <a:gd name="connsiteY6" fmla="*/ 429940 h 785277"/>
                    <a:gd name="connsiteX7" fmla="*/ 53549 w 439470"/>
                    <a:gd name="connsiteY7" fmla="*/ 785653 h 785277"/>
                    <a:gd name="connsiteX8" fmla="*/ 358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358" y="701098"/>
                      </a:moveTo>
                      <a:cubicBezTo>
                        <a:pt x="181228" y="646138"/>
                        <a:pt x="191895" y="467473"/>
                        <a:pt x="192104" y="429940"/>
                      </a:cubicBezTo>
                      <a:lnTo>
                        <a:pt x="358" y="429940"/>
                      </a:lnTo>
                      <a:lnTo>
                        <a:pt x="358" y="376"/>
                      </a:lnTo>
                      <a:lnTo>
                        <a:pt x="439828" y="376"/>
                      </a:lnTo>
                      <a:lnTo>
                        <a:pt x="439828" y="429940"/>
                      </a:lnTo>
                      <a:lnTo>
                        <a:pt x="439419" y="429940"/>
                      </a:lnTo>
                      <a:cubicBezTo>
                        <a:pt x="434827" y="581063"/>
                        <a:pt x="256970" y="748072"/>
                        <a:pt x="53549" y="785653"/>
                      </a:cubicBezTo>
                      <a:cubicBezTo>
                        <a:pt x="55917" y="783058"/>
                        <a:pt x="1204" y="704397"/>
                        <a:pt x="358"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9" name="Freeform 18">
                  <a:extLst>
                    <a:ext uri="{FF2B5EF4-FFF2-40B4-BE49-F238E27FC236}">
                      <a16:creationId xmlns:a16="http://schemas.microsoft.com/office/drawing/2014/main" id="{412EDDCC-B958-6452-EFA9-6B92B8277199}"/>
                    </a:ext>
                  </a:extLst>
                </p:cNvPr>
                <p:cNvSpPr/>
                <p:nvPr/>
              </p:nvSpPr>
              <p:spPr>
                <a:xfrm>
                  <a:off x="6982550" y="4487563"/>
                  <a:ext cx="439583" cy="783604"/>
                </a:xfrm>
                <a:custGeom>
                  <a:avLst/>
                  <a:gdLst>
                    <a:gd name="connsiteX0" fmla="*/ 72892 w 439465"/>
                    <a:gd name="connsiteY0" fmla="*/ 742593 h 785258"/>
                    <a:gd name="connsiteX1" fmla="*/ 181636 w 439465"/>
                    <a:gd name="connsiteY1" fmla="*/ 701637 h 785258"/>
                    <a:gd name="connsiteX2" fmla="*/ 295190 w 439465"/>
                    <a:gd name="connsiteY2" fmla="*/ 622487 h 785258"/>
                    <a:gd name="connsiteX3" fmla="*/ 401402 w 439465"/>
                    <a:gd name="connsiteY3" fmla="*/ 428789 h 785258"/>
                    <a:gd name="connsiteX4" fmla="*/ 401796 w 439465"/>
                    <a:gd name="connsiteY4" fmla="*/ 415812 h 785258"/>
                    <a:gd name="connsiteX5" fmla="*/ 401796 w 439465"/>
                    <a:gd name="connsiteY5" fmla="*/ 38404 h 785258"/>
                    <a:gd name="connsiteX6" fmla="*/ 38386 w 439465"/>
                    <a:gd name="connsiteY6" fmla="*/ 38404 h 785258"/>
                    <a:gd name="connsiteX7" fmla="*/ 38386 w 439465"/>
                    <a:gd name="connsiteY7" fmla="*/ 391914 h 785258"/>
                    <a:gd name="connsiteX8" fmla="*/ 192107 w 439465"/>
                    <a:gd name="connsiteY8" fmla="*/ 391914 h 785258"/>
                    <a:gd name="connsiteX9" fmla="*/ 230353 w 439465"/>
                    <a:gd name="connsiteY9" fmla="*/ 391914 h 785258"/>
                    <a:gd name="connsiteX10" fmla="*/ 230134 w 439465"/>
                    <a:gd name="connsiteY10" fmla="*/ 430160 h 785258"/>
                    <a:gd name="connsiteX11" fmla="*/ 198655 w 439465"/>
                    <a:gd name="connsiteY11" fmla="*/ 574594 h 785258"/>
                    <a:gd name="connsiteX12" fmla="*/ 132755 w 439465"/>
                    <a:gd name="connsiteY12" fmla="*/ 668422 h 785258"/>
                    <a:gd name="connsiteX13" fmla="*/ 57830 w 439465"/>
                    <a:gd name="connsiteY13" fmla="*/ 719566 h 785258"/>
                    <a:gd name="connsiteX14" fmla="*/ 72892 w 439465"/>
                    <a:gd name="connsiteY14" fmla="*/ 742593 h 785258"/>
                    <a:gd name="connsiteX15" fmla="*/ 53545 w 439465"/>
                    <a:gd name="connsiteY15" fmla="*/ 785634 h 785258"/>
                    <a:gd name="connsiteX16" fmla="*/ 358 w 439465"/>
                    <a:gd name="connsiteY16" fmla="*/ 701102 h 785258"/>
                    <a:gd name="connsiteX17" fmla="*/ 192107 w 439465"/>
                    <a:gd name="connsiteY17" fmla="*/ 429942 h 785258"/>
                    <a:gd name="connsiteX18" fmla="*/ 358 w 439465"/>
                    <a:gd name="connsiteY18" fmla="*/ 429942 h 785258"/>
                    <a:gd name="connsiteX19" fmla="*/ 358 w 439465"/>
                    <a:gd name="connsiteY19" fmla="*/ 376 h 785258"/>
                    <a:gd name="connsiteX20" fmla="*/ 439824 w 439465"/>
                    <a:gd name="connsiteY20" fmla="*/ 376 h 785258"/>
                    <a:gd name="connsiteX21" fmla="*/ 439824 w 439465"/>
                    <a:gd name="connsiteY21" fmla="*/ 429942 h 785258"/>
                    <a:gd name="connsiteX22" fmla="*/ 439413 w 439465"/>
                    <a:gd name="connsiteY22" fmla="*/ 429942 h 785258"/>
                    <a:gd name="connsiteX23" fmla="*/ 5354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892" y="742593"/>
                      </a:moveTo>
                      <a:cubicBezTo>
                        <a:pt x="109820" y="733525"/>
                        <a:pt x="146290" y="719797"/>
                        <a:pt x="181636" y="701637"/>
                      </a:cubicBezTo>
                      <a:cubicBezTo>
                        <a:pt x="223588" y="680084"/>
                        <a:pt x="261793" y="653454"/>
                        <a:pt x="295190" y="622487"/>
                      </a:cubicBezTo>
                      <a:cubicBezTo>
                        <a:pt x="360802" y="561650"/>
                        <a:pt x="399514" y="491050"/>
                        <a:pt x="401402" y="428789"/>
                      </a:cubicBezTo>
                      <a:lnTo>
                        <a:pt x="401796" y="415812"/>
                      </a:lnTo>
                      <a:lnTo>
                        <a:pt x="401796" y="38404"/>
                      </a:lnTo>
                      <a:lnTo>
                        <a:pt x="38386" y="38404"/>
                      </a:lnTo>
                      <a:lnTo>
                        <a:pt x="38386" y="391914"/>
                      </a:lnTo>
                      <a:lnTo>
                        <a:pt x="192107" y="391914"/>
                      </a:lnTo>
                      <a:lnTo>
                        <a:pt x="230353" y="391914"/>
                      </a:lnTo>
                      <a:lnTo>
                        <a:pt x="230134" y="430160"/>
                      </a:lnTo>
                      <a:cubicBezTo>
                        <a:pt x="230004" y="452843"/>
                        <a:pt x="226676" y="512324"/>
                        <a:pt x="198655" y="574594"/>
                      </a:cubicBezTo>
                      <a:cubicBezTo>
                        <a:pt x="182329" y="610875"/>
                        <a:pt x="160157" y="642444"/>
                        <a:pt x="132755" y="668422"/>
                      </a:cubicBezTo>
                      <a:cubicBezTo>
                        <a:pt x="110978" y="689069"/>
                        <a:pt x="85898" y="706177"/>
                        <a:pt x="57830" y="719566"/>
                      </a:cubicBezTo>
                      <a:cubicBezTo>
                        <a:pt x="63057" y="727452"/>
                        <a:pt x="68302" y="735429"/>
                        <a:pt x="72892" y="742593"/>
                      </a:cubicBezTo>
                      <a:moveTo>
                        <a:pt x="53545" y="785634"/>
                      </a:moveTo>
                      <a:cubicBezTo>
                        <a:pt x="55918" y="783053"/>
                        <a:pt x="1201" y="704394"/>
                        <a:pt x="358" y="701102"/>
                      </a:cubicBezTo>
                      <a:cubicBezTo>
                        <a:pt x="181225" y="646141"/>
                        <a:pt x="191891" y="467481"/>
                        <a:pt x="192107" y="429942"/>
                      </a:cubicBezTo>
                      <a:lnTo>
                        <a:pt x="358" y="429942"/>
                      </a:lnTo>
                      <a:lnTo>
                        <a:pt x="358" y="376"/>
                      </a:lnTo>
                      <a:lnTo>
                        <a:pt x="439824" y="376"/>
                      </a:lnTo>
                      <a:lnTo>
                        <a:pt x="439824" y="429942"/>
                      </a:lnTo>
                      <a:lnTo>
                        <a:pt x="439413" y="429942"/>
                      </a:lnTo>
                      <a:cubicBezTo>
                        <a:pt x="434831" y="581060"/>
                        <a:pt x="256974" y="748073"/>
                        <a:pt x="5354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15" name="Graphic 6">
                <a:extLst>
                  <a:ext uri="{FF2B5EF4-FFF2-40B4-BE49-F238E27FC236}">
                    <a16:creationId xmlns:a16="http://schemas.microsoft.com/office/drawing/2014/main" id="{DFB8DCCB-2015-E288-B199-AA275661C3FF}"/>
                  </a:ext>
                </a:extLst>
              </p:cNvPr>
              <p:cNvGrpSpPr>
                <a:grpSpLocks/>
              </p:cNvGrpSpPr>
              <p:nvPr/>
            </p:nvGrpSpPr>
            <p:grpSpPr bwMode="auto">
              <a:xfrm>
                <a:off x="7548274" y="4487563"/>
                <a:ext cx="439583" cy="783604"/>
                <a:chOff x="7548274" y="4487563"/>
                <a:chExt cx="439583" cy="783604"/>
              </a:xfrm>
            </p:grpSpPr>
            <p:sp>
              <p:nvSpPr>
                <p:cNvPr id="16" name="Freeform 15">
                  <a:extLst>
                    <a:ext uri="{FF2B5EF4-FFF2-40B4-BE49-F238E27FC236}">
                      <a16:creationId xmlns:a16="http://schemas.microsoft.com/office/drawing/2014/main" id="{60F9ACEF-FE4B-9363-82F2-E0940A012D63}"/>
                    </a:ext>
                  </a:extLst>
                </p:cNvPr>
                <p:cNvSpPr/>
                <p:nvPr/>
              </p:nvSpPr>
              <p:spPr>
                <a:xfrm>
                  <a:off x="7548274" y="4487563"/>
                  <a:ext cx="439583" cy="783604"/>
                </a:xfrm>
                <a:custGeom>
                  <a:avLst/>
                  <a:gdLst>
                    <a:gd name="connsiteX0" fmla="*/ 417 w 439470"/>
                    <a:gd name="connsiteY0" fmla="*/ 701098 h 785277"/>
                    <a:gd name="connsiteX1" fmla="*/ 192164 w 439470"/>
                    <a:gd name="connsiteY1" fmla="*/ 429940 h 785277"/>
                    <a:gd name="connsiteX2" fmla="*/ 417 w 439470"/>
                    <a:gd name="connsiteY2" fmla="*/ 429940 h 785277"/>
                    <a:gd name="connsiteX3" fmla="*/ 417 w 439470"/>
                    <a:gd name="connsiteY3" fmla="*/ 376 h 785277"/>
                    <a:gd name="connsiteX4" fmla="*/ 439888 w 439470"/>
                    <a:gd name="connsiteY4" fmla="*/ 376 h 785277"/>
                    <a:gd name="connsiteX5" fmla="*/ 439888 w 439470"/>
                    <a:gd name="connsiteY5" fmla="*/ 429940 h 785277"/>
                    <a:gd name="connsiteX6" fmla="*/ 439479 w 439470"/>
                    <a:gd name="connsiteY6" fmla="*/ 429940 h 785277"/>
                    <a:gd name="connsiteX7" fmla="*/ 53609 w 439470"/>
                    <a:gd name="connsiteY7" fmla="*/ 785653 h 785277"/>
                    <a:gd name="connsiteX8" fmla="*/ 417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417" y="701098"/>
                      </a:moveTo>
                      <a:cubicBezTo>
                        <a:pt x="181288" y="646138"/>
                        <a:pt x="191955" y="467473"/>
                        <a:pt x="192164" y="429940"/>
                      </a:cubicBezTo>
                      <a:lnTo>
                        <a:pt x="417" y="429940"/>
                      </a:lnTo>
                      <a:lnTo>
                        <a:pt x="417" y="376"/>
                      </a:lnTo>
                      <a:lnTo>
                        <a:pt x="439888" y="376"/>
                      </a:lnTo>
                      <a:lnTo>
                        <a:pt x="439888" y="429940"/>
                      </a:lnTo>
                      <a:lnTo>
                        <a:pt x="439479" y="429940"/>
                      </a:lnTo>
                      <a:cubicBezTo>
                        <a:pt x="434887" y="581063"/>
                        <a:pt x="257030" y="748072"/>
                        <a:pt x="53609" y="785653"/>
                      </a:cubicBezTo>
                      <a:cubicBezTo>
                        <a:pt x="55976" y="783058"/>
                        <a:pt x="1264" y="704397"/>
                        <a:pt x="417"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7" name="Freeform 16">
                  <a:extLst>
                    <a:ext uri="{FF2B5EF4-FFF2-40B4-BE49-F238E27FC236}">
                      <a16:creationId xmlns:a16="http://schemas.microsoft.com/office/drawing/2014/main" id="{E8B08916-5433-71C0-BEDB-9867111C3B9A}"/>
                    </a:ext>
                  </a:extLst>
                </p:cNvPr>
                <p:cNvSpPr/>
                <p:nvPr/>
              </p:nvSpPr>
              <p:spPr>
                <a:xfrm>
                  <a:off x="7548274" y="4487563"/>
                  <a:ext cx="439583" cy="783604"/>
                </a:xfrm>
                <a:custGeom>
                  <a:avLst/>
                  <a:gdLst>
                    <a:gd name="connsiteX0" fmla="*/ 72952 w 439465"/>
                    <a:gd name="connsiteY0" fmla="*/ 742593 h 785258"/>
                    <a:gd name="connsiteX1" fmla="*/ 181696 w 439465"/>
                    <a:gd name="connsiteY1" fmla="*/ 701637 h 785258"/>
                    <a:gd name="connsiteX2" fmla="*/ 295250 w 439465"/>
                    <a:gd name="connsiteY2" fmla="*/ 622487 h 785258"/>
                    <a:gd name="connsiteX3" fmla="*/ 401462 w 439465"/>
                    <a:gd name="connsiteY3" fmla="*/ 428789 h 785258"/>
                    <a:gd name="connsiteX4" fmla="*/ 401855 w 439465"/>
                    <a:gd name="connsiteY4" fmla="*/ 415812 h 785258"/>
                    <a:gd name="connsiteX5" fmla="*/ 401855 w 439465"/>
                    <a:gd name="connsiteY5" fmla="*/ 38404 h 785258"/>
                    <a:gd name="connsiteX6" fmla="*/ 38445 w 439465"/>
                    <a:gd name="connsiteY6" fmla="*/ 38404 h 785258"/>
                    <a:gd name="connsiteX7" fmla="*/ 38445 w 439465"/>
                    <a:gd name="connsiteY7" fmla="*/ 391914 h 785258"/>
                    <a:gd name="connsiteX8" fmla="*/ 192166 w 439465"/>
                    <a:gd name="connsiteY8" fmla="*/ 391914 h 785258"/>
                    <a:gd name="connsiteX9" fmla="*/ 230413 w 439465"/>
                    <a:gd name="connsiteY9" fmla="*/ 391914 h 785258"/>
                    <a:gd name="connsiteX10" fmla="*/ 230194 w 439465"/>
                    <a:gd name="connsiteY10" fmla="*/ 430160 h 785258"/>
                    <a:gd name="connsiteX11" fmla="*/ 198715 w 439465"/>
                    <a:gd name="connsiteY11" fmla="*/ 574594 h 785258"/>
                    <a:gd name="connsiteX12" fmla="*/ 132815 w 439465"/>
                    <a:gd name="connsiteY12" fmla="*/ 668422 h 785258"/>
                    <a:gd name="connsiteX13" fmla="*/ 57890 w 439465"/>
                    <a:gd name="connsiteY13" fmla="*/ 719566 h 785258"/>
                    <a:gd name="connsiteX14" fmla="*/ 72952 w 439465"/>
                    <a:gd name="connsiteY14" fmla="*/ 742593 h 785258"/>
                    <a:gd name="connsiteX15" fmla="*/ 53605 w 439465"/>
                    <a:gd name="connsiteY15" fmla="*/ 785634 h 785258"/>
                    <a:gd name="connsiteX16" fmla="*/ 417 w 439465"/>
                    <a:gd name="connsiteY16" fmla="*/ 701102 h 785258"/>
                    <a:gd name="connsiteX17" fmla="*/ 192166 w 439465"/>
                    <a:gd name="connsiteY17" fmla="*/ 429942 h 785258"/>
                    <a:gd name="connsiteX18" fmla="*/ 417 w 439465"/>
                    <a:gd name="connsiteY18" fmla="*/ 429942 h 785258"/>
                    <a:gd name="connsiteX19" fmla="*/ 417 w 439465"/>
                    <a:gd name="connsiteY19" fmla="*/ 376 h 785258"/>
                    <a:gd name="connsiteX20" fmla="*/ 439883 w 439465"/>
                    <a:gd name="connsiteY20" fmla="*/ 376 h 785258"/>
                    <a:gd name="connsiteX21" fmla="*/ 439883 w 439465"/>
                    <a:gd name="connsiteY21" fmla="*/ 429942 h 785258"/>
                    <a:gd name="connsiteX22" fmla="*/ 439472 w 439465"/>
                    <a:gd name="connsiteY22" fmla="*/ 429942 h 785258"/>
                    <a:gd name="connsiteX23" fmla="*/ 5360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952" y="742593"/>
                      </a:moveTo>
                      <a:cubicBezTo>
                        <a:pt x="109880" y="733525"/>
                        <a:pt x="146349" y="719797"/>
                        <a:pt x="181696" y="701637"/>
                      </a:cubicBezTo>
                      <a:cubicBezTo>
                        <a:pt x="223648" y="680084"/>
                        <a:pt x="261853" y="653454"/>
                        <a:pt x="295250" y="622487"/>
                      </a:cubicBezTo>
                      <a:cubicBezTo>
                        <a:pt x="360861" y="561650"/>
                        <a:pt x="399574" y="491050"/>
                        <a:pt x="401462" y="428789"/>
                      </a:cubicBezTo>
                      <a:lnTo>
                        <a:pt x="401855" y="415812"/>
                      </a:lnTo>
                      <a:lnTo>
                        <a:pt x="401855" y="38404"/>
                      </a:lnTo>
                      <a:lnTo>
                        <a:pt x="38445" y="38404"/>
                      </a:lnTo>
                      <a:lnTo>
                        <a:pt x="38445" y="391914"/>
                      </a:lnTo>
                      <a:lnTo>
                        <a:pt x="192166" y="391914"/>
                      </a:lnTo>
                      <a:lnTo>
                        <a:pt x="230413" y="391914"/>
                      </a:lnTo>
                      <a:lnTo>
                        <a:pt x="230194" y="430160"/>
                      </a:lnTo>
                      <a:cubicBezTo>
                        <a:pt x="230064" y="452843"/>
                        <a:pt x="226736" y="512324"/>
                        <a:pt x="198715" y="574594"/>
                      </a:cubicBezTo>
                      <a:cubicBezTo>
                        <a:pt x="182389" y="610875"/>
                        <a:pt x="160217" y="642444"/>
                        <a:pt x="132815" y="668422"/>
                      </a:cubicBezTo>
                      <a:cubicBezTo>
                        <a:pt x="111038" y="689069"/>
                        <a:pt x="85958" y="706177"/>
                        <a:pt x="57890" y="719566"/>
                      </a:cubicBezTo>
                      <a:cubicBezTo>
                        <a:pt x="63116" y="727452"/>
                        <a:pt x="68362" y="735429"/>
                        <a:pt x="72952" y="742593"/>
                      </a:cubicBezTo>
                      <a:moveTo>
                        <a:pt x="53605" y="785634"/>
                      </a:moveTo>
                      <a:cubicBezTo>
                        <a:pt x="55978" y="783053"/>
                        <a:pt x="1260" y="704394"/>
                        <a:pt x="417" y="701102"/>
                      </a:cubicBezTo>
                      <a:cubicBezTo>
                        <a:pt x="181285" y="646141"/>
                        <a:pt x="191951" y="467481"/>
                        <a:pt x="192166" y="429942"/>
                      </a:cubicBezTo>
                      <a:lnTo>
                        <a:pt x="417" y="429942"/>
                      </a:lnTo>
                      <a:lnTo>
                        <a:pt x="417" y="376"/>
                      </a:lnTo>
                      <a:lnTo>
                        <a:pt x="439883" y="376"/>
                      </a:lnTo>
                      <a:lnTo>
                        <a:pt x="439883" y="429942"/>
                      </a:lnTo>
                      <a:lnTo>
                        <a:pt x="439472" y="429942"/>
                      </a:lnTo>
                      <a:cubicBezTo>
                        <a:pt x="434890" y="581060"/>
                        <a:pt x="257034" y="748073"/>
                        <a:pt x="5360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nvGrpSpPr>
            <p:cNvPr id="20" name="Graphic 4">
              <a:extLst>
                <a:ext uri="{FF2B5EF4-FFF2-40B4-BE49-F238E27FC236}">
                  <a16:creationId xmlns:a16="http://schemas.microsoft.com/office/drawing/2014/main" id="{68062992-45C6-931C-B480-4D3DAAF6C568}"/>
                </a:ext>
              </a:extLst>
            </p:cNvPr>
            <p:cNvGrpSpPr>
              <a:grpSpLocks/>
            </p:cNvGrpSpPr>
            <p:nvPr/>
          </p:nvGrpSpPr>
          <p:grpSpPr bwMode="auto">
            <a:xfrm rot="10800000">
              <a:off x="5884446" y="3062294"/>
              <a:ext cx="371477" cy="321946"/>
              <a:chOff x="3623023" y="3571901"/>
              <a:chExt cx="1007494" cy="785277"/>
            </a:xfrm>
          </p:grpSpPr>
          <p:grpSp>
            <p:nvGrpSpPr>
              <p:cNvPr id="21" name="Graphic 4">
                <a:extLst>
                  <a:ext uri="{FF2B5EF4-FFF2-40B4-BE49-F238E27FC236}">
                    <a16:creationId xmlns:a16="http://schemas.microsoft.com/office/drawing/2014/main" id="{27E6A825-0DA5-C5C3-E6C6-B97DA0BB0E0C}"/>
                  </a:ext>
                </a:extLst>
              </p:cNvPr>
              <p:cNvGrpSpPr>
                <a:grpSpLocks/>
              </p:cNvGrpSpPr>
              <p:nvPr/>
            </p:nvGrpSpPr>
            <p:grpSpPr bwMode="auto">
              <a:xfrm>
                <a:off x="3623023" y="3571901"/>
                <a:ext cx="439164" cy="785277"/>
                <a:chOff x="3623023" y="3571901"/>
                <a:chExt cx="439164" cy="785277"/>
              </a:xfrm>
            </p:grpSpPr>
            <p:sp>
              <p:nvSpPr>
                <p:cNvPr id="25" name="Freeform 24">
                  <a:extLst>
                    <a:ext uri="{FF2B5EF4-FFF2-40B4-BE49-F238E27FC236}">
                      <a16:creationId xmlns:a16="http://schemas.microsoft.com/office/drawing/2014/main" id="{369884D6-D27C-A9AE-B82D-B80D3E09480F}"/>
                    </a:ext>
                  </a:extLst>
                </p:cNvPr>
                <p:cNvSpPr/>
                <p:nvPr/>
              </p:nvSpPr>
              <p:spPr>
                <a:xfrm>
                  <a:off x="3623023" y="3571901"/>
                  <a:ext cx="439164" cy="785277"/>
                </a:xfrm>
                <a:custGeom>
                  <a:avLst/>
                  <a:gdLst>
                    <a:gd name="connsiteX0" fmla="*/ 358 w 439223"/>
                    <a:gd name="connsiteY0" fmla="*/ 701041 h 785277"/>
                    <a:gd name="connsiteX1" fmla="*/ 192399 w 439223"/>
                    <a:gd name="connsiteY1" fmla="*/ 430092 h 785277"/>
                    <a:gd name="connsiteX2" fmla="*/ 358 w 439223"/>
                    <a:gd name="connsiteY2" fmla="*/ 430092 h 785277"/>
                    <a:gd name="connsiteX3" fmla="*/ 358 w 439223"/>
                    <a:gd name="connsiteY3" fmla="*/ 376 h 785277"/>
                    <a:gd name="connsiteX4" fmla="*/ 439581 w 439223"/>
                    <a:gd name="connsiteY4" fmla="*/ 376 h 785277"/>
                    <a:gd name="connsiteX5" fmla="*/ 439581 w 439223"/>
                    <a:gd name="connsiteY5" fmla="*/ 430092 h 785277"/>
                    <a:gd name="connsiteX6" fmla="*/ 439581 w 439223"/>
                    <a:gd name="connsiteY6" fmla="*/ 430092 h 785277"/>
                    <a:gd name="connsiteX7" fmla="*/ 53597 w 439223"/>
                    <a:gd name="connsiteY7" fmla="*/ 785653 h 785277"/>
                    <a:gd name="connsiteX8" fmla="*/ 358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358" y="701041"/>
                      </a:move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ubicBezTo>
                        <a:pt x="55498" y="782801"/>
                        <a:pt x="1308" y="704844"/>
                        <a:pt x="358"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6" name="Freeform 25">
                  <a:extLst>
                    <a:ext uri="{FF2B5EF4-FFF2-40B4-BE49-F238E27FC236}">
                      <a16:creationId xmlns:a16="http://schemas.microsoft.com/office/drawing/2014/main" id="{5612F91D-5F2F-1516-82F0-16936D0F0953}"/>
                    </a:ext>
                  </a:extLst>
                </p:cNvPr>
                <p:cNvSpPr/>
                <p:nvPr/>
              </p:nvSpPr>
              <p:spPr>
                <a:xfrm>
                  <a:off x="3623023" y="3571901"/>
                  <a:ext cx="439164" cy="785277"/>
                </a:xfrm>
                <a:custGeom>
                  <a:avLst/>
                  <a:gdLst>
                    <a:gd name="connsiteX0" fmla="*/ 53597 w 439223"/>
                    <a:gd name="connsiteY0" fmla="*/ 785653 h 785277"/>
                    <a:gd name="connsiteX1" fmla="*/ 358 w 439223"/>
                    <a:gd name="connsiteY1" fmla="*/ 701041 h 785277"/>
                    <a:gd name="connsiteX2" fmla="*/ 192399 w 439223"/>
                    <a:gd name="connsiteY2" fmla="*/ 430092 h 785277"/>
                    <a:gd name="connsiteX3" fmla="*/ 358 w 439223"/>
                    <a:gd name="connsiteY3" fmla="*/ 430092 h 785277"/>
                    <a:gd name="connsiteX4" fmla="*/ 358 w 439223"/>
                    <a:gd name="connsiteY4" fmla="*/ 376 h 785277"/>
                    <a:gd name="connsiteX5" fmla="*/ 439581 w 439223"/>
                    <a:gd name="connsiteY5" fmla="*/ 376 h 785277"/>
                    <a:gd name="connsiteX6" fmla="*/ 439581 w 439223"/>
                    <a:gd name="connsiteY6" fmla="*/ 430092 h 785277"/>
                    <a:gd name="connsiteX7" fmla="*/ 439581 w 439223"/>
                    <a:gd name="connsiteY7" fmla="*/ 430092 h 785277"/>
                    <a:gd name="connsiteX8" fmla="*/ 5359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597" y="785653"/>
                      </a:moveTo>
                      <a:cubicBezTo>
                        <a:pt x="55498" y="782801"/>
                        <a:pt x="1308" y="704844"/>
                        <a:pt x="358" y="701041"/>
                      </a:cubicBez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22" name="Graphic 4">
                <a:extLst>
                  <a:ext uri="{FF2B5EF4-FFF2-40B4-BE49-F238E27FC236}">
                    <a16:creationId xmlns:a16="http://schemas.microsoft.com/office/drawing/2014/main" id="{59D6D2F1-A985-F6B9-AC62-382182D3445F}"/>
                  </a:ext>
                </a:extLst>
              </p:cNvPr>
              <p:cNvGrpSpPr>
                <a:grpSpLocks/>
              </p:cNvGrpSpPr>
              <p:nvPr/>
            </p:nvGrpSpPr>
            <p:grpSpPr bwMode="auto">
              <a:xfrm>
                <a:off x="4191353" y="3571901"/>
                <a:ext cx="439164" cy="785277"/>
                <a:chOff x="4191353" y="3571901"/>
                <a:chExt cx="439164" cy="785277"/>
              </a:xfrm>
            </p:grpSpPr>
            <p:sp>
              <p:nvSpPr>
                <p:cNvPr id="23" name="Freeform 22">
                  <a:extLst>
                    <a:ext uri="{FF2B5EF4-FFF2-40B4-BE49-F238E27FC236}">
                      <a16:creationId xmlns:a16="http://schemas.microsoft.com/office/drawing/2014/main" id="{0211616B-2D20-00B1-E904-9D0774296D94}"/>
                    </a:ext>
                  </a:extLst>
                </p:cNvPr>
                <p:cNvSpPr/>
                <p:nvPr/>
              </p:nvSpPr>
              <p:spPr>
                <a:xfrm>
                  <a:off x="4191353" y="3571901"/>
                  <a:ext cx="439164" cy="785277"/>
                </a:xfrm>
                <a:custGeom>
                  <a:avLst/>
                  <a:gdLst>
                    <a:gd name="connsiteX0" fmla="*/ 417 w 439223"/>
                    <a:gd name="connsiteY0" fmla="*/ 701041 h 785277"/>
                    <a:gd name="connsiteX1" fmla="*/ 192459 w 439223"/>
                    <a:gd name="connsiteY1" fmla="*/ 430092 h 785277"/>
                    <a:gd name="connsiteX2" fmla="*/ 417 w 439223"/>
                    <a:gd name="connsiteY2" fmla="*/ 430092 h 785277"/>
                    <a:gd name="connsiteX3" fmla="*/ 417 w 439223"/>
                    <a:gd name="connsiteY3" fmla="*/ 376 h 785277"/>
                    <a:gd name="connsiteX4" fmla="*/ 439641 w 439223"/>
                    <a:gd name="connsiteY4" fmla="*/ 376 h 785277"/>
                    <a:gd name="connsiteX5" fmla="*/ 439641 w 439223"/>
                    <a:gd name="connsiteY5" fmla="*/ 430092 h 785277"/>
                    <a:gd name="connsiteX6" fmla="*/ 439641 w 439223"/>
                    <a:gd name="connsiteY6" fmla="*/ 430092 h 785277"/>
                    <a:gd name="connsiteX7" fmla="*/ 53657 w 439223"/>
                    <a:gd name="connsiteY7" fmla="*/ 785653 h 785277"/>
                    <a:gd name="connsiteX8" fmla="*/ 417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417" y="701041"/>
                      </a:move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ubicBezTo>
                        <a:pt x="55558" y="782801"/>
                        <a:pt x="1368" y="704844"/>
                        <a:pt x="417"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4" name="Freeform 23">
                  <a:extLst>
                    <a:ext uri="{FF2B5EF4-FFF2-40B4-BE49-F238E27FC236}">
                      <a16:creationId xmlns:a16="http://schemas.microsoft.com/office/drawing/2014/main" id="{568D00E5-A2F7-B8D0-EB02-A6002602B01D}"/>
                    </a:ext>
                  </a:extLst>
                </p:cNvPr>
                <p:cNvSpPr/>
                <p:nvPr/>
              </p:nvSpPr>
              <p:spPr>
                <a:xfrm>
                  <a:off x="4191353" y="3571901"/>
                  <a:ext cx="439164" cy="785277"/>
                </a:xfrm>
                <a:custGeom>
                  <a:avLst/>
                  <a:gdLst>
                    <a:gd name="connsiteX0" fmla="*/ 53657 w 439223"/>
                    <a:gd name="connsiteY0" fmla="*/ 785653 h 785277"/>
                    <a:gd name="connsiteX1" fmla="*/ 417 w 439223"/>
                    <a:gd name="connsiteY1" fmla="*/ 701041 h 785277"/>
                    <a:gd name="connsiteX2" fmla="*/ 192459 w 439223"/>
                    <a:gd name="connsiteY2" fmla="*/ 430092 h 785277"/>
                    <a:gd name="connsiteX3" fmla="*/ 417 w 439223"/>
                    <a:gd name="connsiteY3" fmla="*/ 430092 h 785277"/>
                    <a:gd name="connsiteX4" fmla="*/ 417 w 439223"/>
                    <a:gd name="connsiteY4" fmla="*/ 376 h 785277"/>
                    <a:gd name="connsiteX5" fmla="*/ 439641 w 439223"/>
                    <a:gd name="connsiteY5" fmla="*/ 376 h 785277"/>
                    <a:gd name="connsiteX6" fmla="*/ 439641 w 439223"/>
                    <a:gd name="connsiteY6" fmla="*/ 430092 h 785277"/>
                    <a:gd name="connsiteX7" fmla="*/ 439641 w 439223"/>
                    <a:gd name="connsiteY7" fmla="*/ 430092 h 785277"/>
                    <a:gd name="connsiteX8" fmla="*/ 5365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657" y="785653"/>
                      </a:moveTo>
                      <a:cubicBezTo>
                        <a:pt x="55558" y="782801"/>
                        <a:pt x="1368" y="704844"/>
                        <a:pt x="417" y="701041"/>
                      </a:cubicBez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pic>
        <p:nvPicPr>
          <p:cNvPr id="1046" name="Picture 22" descr="undefined">
            <a:extLst>
              <a:ext uri="{FF2B5EF4-FFF2-40B4-BE49-F238E27FC236}">
                <a16:creationId xmlns:a16="http://schemas.microsoft.com/office/drawing/2014/main" id="{CE8BEE10-D68C-384D-1AFE-1996B0021C4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575694" y="3273925"/>
            <a:ext cx="960820" cy="245835"/>
          </a:xfrm>
          <a:prstGeom prst="rect">
            <a:avLst/>
          </a:prstGeom>
          <a:noFill/>
          <a:effectLst>
            <a:glow rad="1905000">
              <a:schemeClr val="bg1">
                <a:alpha val="35000"/>
              </a:schemeClr>
            </a:glow>
          </a:effectLst>
          <a:extLst>
            <a:ext uri="{909E8E84-426E-40DD-AFC4-6F175D3DCCD1}">
              <a14:hiddenFill xmlns:a14="http://schemas.microsoft.com/office/drawing/2010/main">
                <a:solidFill>
                  <a:srgbClr val="FFFFFF"/>
                </a:solidFill>
              </a14:hiddenFill>
            </a:ext>
          </a:extLst>
        </p:spPr>
      </p:pic>
      <p:pic>
        <p:nvPicPr>
          <p:cNvPr id="1026" name="Picture 2" descr="undefined">
            <a:extLst>
              <a:ext uri="{FF2B5EF4-FFF2-40B4-BE49-F238E27FC236}">
                <a16:creationId xmlns:a16="http://schemas.microsoft.com/office/drawing/2014/main" id="{0D3DD156-C487-F44B-1299-3BE61176B8F1}"/>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34408" y="2211865"/>
            <a:ext cx="982723" cy="3305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31AB8CF9-F1A0-8401-A8B6-6309B88FC1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553434" y="2211866"/>
            <a:ext cx="1115659"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ndefined">
            <a:extLst>
              <a:ext uri="{FF2B5EF4-FFF2-40B4-BE49-F238E27FC236}">
                <a16:creationId xmlns:a16="http://schemas.microsoft.com/office/drawing/2014/main" id="{39F8507A-E95B-C816-8CE2-076D9302536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136545" y="2211865"/>
            <a:ext cx="648774"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ndefined">
            <a:extLst>
              <a:ext uri="{FF2B5EF4-FFF2-40B4-BE49-F238E27FC236}">
                <a16:creationId xmlns:a16="http://schemas.microsoft.com/office/drawing/2014/main" id="{5A3A7EA1-3387-E1C6-EE57-DE254D7B821C}"/>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566213" y="2198929"/>
            <a:ext cx="928515"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undefined">
            <a:extLst>
              <a:ext uri="{FF2B5EF4-FFF2-40B4-BE49-F238E27FC236}">
                <a16:creationId xmlns:a16="http://schemas.microsoft.com/office/drawing/2014/main" id="{222D7AFA-F142-7CD0-0945-E45F3604269C}"/>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848732" y="2112399"/>
            <a:ext cx="523903" cy="523903"/>
          </a:xfrm>
          <a:prstGeom prst="rect">
            <a:avLst/>
          </a:prstGeom>
          <a:noFill/>
          <a:effectLst>
            <a:outerShdw blurRad="330200" dist="38100" sx="101000" sy="101000" algn="l" rotWithShape="0">
              <a:schemeClr val="tx1">
                <a:alpha val="31000"/>
              </a:schemeClr>
            </a:outerShdw>
          </a:effectLst>
          <a:extLst>
            <a:ext uri="{909E8E84-426E-40DD-AFC4-6F175D3DCCD1}">
              <a14:hiddenFill xmlns:a14="http://schemas.microsoft.com/office/drawing/2010/main">
                <a:solidFill>
                  <a:srgbClr val="FFFFFF"/>
                </a:solidFill>
              </a14:hiddenFill>
            </a:ext>
          </a:extLst>
        </p:spPr>
      </p:pic>
      <p:pic>
        <p:nvPicPr>
          <p:cNvPr id="1036" name="Picture 12" descr="undefined">
            <a:extLst>
              <a:ext uri="{FF2B5EF4-FFF2-40B4-BE49-F238E27FC236}">
                <a16:creationId xmlns:a16="http://schemas.microsoft.com/office/drawing/2014/main" id="{6C179031-1B33-4F41-B69D-E2300EF38D19}"/>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726639" y="2168380"/>
            <a:ext cx="1320618" cy="37400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undefined">
            <a:extLst>
              <a:ext uri="{FF2B5EF4-FFF2-40B4-BE49-F238E27FC236}">
                <a16:creationId xmlns:a16="http://schemas.microsoft.com/office/drawing/2014/main" id="{305F8DCF-2E75-0FD6-9AD3-34CA9F720183}"/>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564215" y="2684604"/>
            <a:ext cx="1320362" cy="337311"/>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a:extLst>
              <a:ext uri="{FF2B5EF4-FFF2-40B4-BE49-F238E27FC236}">
                <a16:creationId xmlns:a16="http://schemas.microsoft.com/office/drawing/2014/main" id="{0B7DB409-EFFF-5FDA-CCAB-6BBD3CE3C2F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67963" y="2724658"/>
            <a:ext cx="1115659" cy="322302"/>
          </a:xfrm>
          <a:prstGeom prst="rect">
            <a:avLst/>
          </a:prstGeom>
        </p:spPr>
      </p:pic>
      <p:pic>
        <p:nvPicPr>
          <p:cNvPr id="1040" name="Picture 16" descr="undefined">
            <a:extLst>
              <a:ext uri="{FF2B5EF4-FFF2-40B4-BE49-F238E27FC236}">
                <a16:creationId xmlns:a16="http://schemas.microsoft.com/office/drawing/2014/main" id="{785EA88C-FA35-38BE-F443-484D7702775E}"/>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3107324" y="2724658"/>
            <a:ext cx="1166645" cy="29849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undefined">
            <a:extLst>
              <a:ext uri="{FF2B5EF4-FFF2-40B4-BE49-F238E27FC236}">
                <a16:creationId xmlns:a16="http://schemas.microsoft.com/office/drawing/2014/main" id="{972970D8-D5D5-6F94-B341-FBE8996D6311}"/>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69595" y="2728426"/>
            <a:ext cx="912359" cy="31683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undefined">
            <a:extLst>
              <a:ext uri="{FF2B5EF4-FFF2-40B4-BE49-F238E27FC236}">
                <a16:creationId xmlns:a16="http://schemas.microsoft.com/office/drawing/2014/main" id="{B7704281-B329-7202-FA13-EABFE379278C}"/>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488044" y="3312274"/>
            <a:ext cx="875449" cy="16448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ndefined">
            <a:extLst>
              <a:ext uri="{FF2B5EF4-FFF2-40B4-BE49-F238E27FC236}">
                <a16:creationId xmlns:a16="http://schemas.microsoft.com/office/drawing/2014/main" id="{BA91BED1-BD50-591C-04A7-7E09198BA7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3076477" y="3273925"/>
            <a:ext cx="1281238"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undefined">
            <a:extLst>
              <a:ext uri="{FF2B5EF4-FFF2-40B4-BE49-F238E27FC236}">
                <a16:creationId xmlns:a16="http://schemas.microsoft.com/office/drawing/2014/main" id="{3F6872DF-206E-5652-6F33-D228195B97F4}"/>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668541" y="5945194"/>
            <a:ext cx="1438783" cy="13432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undefined">
            <a:extLst>
              <a:ext uri="{FF2B5EF4-FFF2-40B4-BE49-F238E27FC236}">
                <a16:creationId xmlns:a16="http://schemas.microsoft.com/office/drawing/2014/main" id="{C32215E7-7193-69BB-1D12-225B08134A8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4527701" y="3273925"/>
            <a:ext cx="1066679" cy="24583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undefined">
            <a:extLst>
              <a:ext uri="{FF2B5EF4-FFF2-40B4-BE49-F238E27FC236}">
                <a16:creationId xmlns:a16="http://schemas.microsoft.com/office/drawing/2014/main" id="{28CD02FA-55B8-19F2-A56E-7D1097BA948B}"/>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590492" y="3773851"/>
            <a:ext cx="956255" cy="28575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undefined">
            <a:extLst>
              <a:ext uri="{FF2B5EF4-FFF2-40B4-BE49-F238E27FC236}">
                <a16:creationId xmlns:a16="http://schemas.microsoft.com/office/drawing/2014/main" id="{10850515-EE84-952E-F625-2E28554D61D2}"/>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4509454" y="3689356"/>
            <a:ext cx="930844" cy="381428"/>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undefined">
            <a:extLst>
              <a:ext uri="{FF2B5EF4-FFF2-40B4-BE49-F238E27FC236}">
                <a16:creationId xmlns:a16="http://schemas.microsoft.com/office/drawing/2014/main" id="{C88D8589-658A-E3DF-FE07-9D4C585BA9C7}"/>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475749" y="4197979"/>
            <a:ext cx="663620" cy="58518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undefined">
            <a:extLst>
              <a:ext uri="{FF2B5EF4-FFF2-40B4-BE49-F238E27FC236}">
                <a16:creationId xmlns:a16="http://schemas.microsoft.com/office/drawing/2014/main" id="{73C35F4D-03EC-F4C1-DC8D-A34E2290AF99}"/>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502958" y="3802012"/>
            <a:ext cx="845620" cy="225278"/>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undefined">
            <a:extLst>
              <a:ext uri="{FF2B5EF4-FFF2-40B4-BE49-F238E27FC236}">
                <a16:creationId xmlns:a16="http://schemas.microsoft.com/office/drawing/2014/main" id="{511B3BAF-DC0E-A005-E209-5E0283E0F850}"/>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1552829" y="4330503"/>
            <a:ext cx="1001326" cy="322302"/>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undefined">
            <a:extLst>
              <a:ext uri="{FF2B5EF4-FFF2-40B4-BE49-F238E27FC236}">
                <a16:creationId xmlns:a16="http://schemas.microsoft.com/office/drawing/2014/main" id="{FECFAEF7-54F1-370A-E477-90F14526C6ED}"/>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359999" y="4950594"/>
            <a:ext cx="912358" cy="668599"/>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undefined">
            <a:extLst>
              <a:ext uri="{FF2B5EF4-FFF2-40B4-BE49-F238E27FC236}">
                <a16:creationId xmlns:a16="http://schemas.microsoft.com/office/drawing/2014/main" id="{21372171-5212-D060-E3BA-41012BE7CEDB}"/>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3049015" y="4376746"/>
            <a:ext cx="936893"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undefined">
            <a:extLst>
              <a:ext uri="{FF2B5EF4-FFF2-40B4-BE49-F238E27FC236}">
                <a16:creationId xmlns:a16="http://schemas.microsoft.com/office/drawing/2014/main" id="{16D4A542-25C6-7501-4D18-94BCD9012100}"/>
              </a:ext>
            </a:extLst>
          </p:cNvPr>
          <p:cNvPicPr>
            <a:picLocks noChangeAspect="1" noChangeArrowheads="1"/>
          </p:cNvPicPr>
          <p:nvPr/>
        </p:nvPicPr>
        <p:blipFill rotWithShape="1">
          <a:blip r:embed="rId30" cstate="print">
            <a:extLst>
              <a:ext uri="{28A0092B-C50C-407E-A947-70E740481C1C}">
                <a14:useLocalDpi xmlns:a14="http://schemas.microsoft.com/office/drawing/2010/main"/>
              </a:ext>
            </a:extLst>
          </a:blip>
          <a:srcRect/>
          <a:stretch/>
        </p:blipFill>
        <p:spPr bwMode="auto">
          <a:xfrm>
            <a:off x="3070536" y="3707488"/>
            <a:ext cx="980441" cy="414326"/>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48E679A7-9C3D-D003-6991-2FC45DF7B079}"/>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509454" y="4304581"/>
            <a:ext cx="1084926" cy="290865"/>
          </a:xfrm>
          <a:prstGeom prst="rect">
            <a:avLst/>
          </a:prstGeom>
        </p:spPr>
      </p:pic>
      <p:pic>
        <p:nvPicPr>
          <p:cNvPr id="1070" name="Picture 46" descr="Logo of Vetter Pharma">
            <a:extLst>
              <a:ext uri="{FF2B5EF4-FFF2-40B4-BE49-F238E27FC236}">
                <a16:creationId xmlns:a16="http://schemas.microsoft.com/office/drawing/2014/main" id="{489051A0-20EB-41F6-E0D8-E9F26A1328B7}"/>
              </a:ext>
            </a:extLst>
          </p:cNvPr>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1552829" y="4942683"/>
            <a:ext cx="739907" cy="647700"/>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undefined">
            <a:extLst>
              <a:ext uri="{FF2B5EF4-FFF2-40B4-BE49-F238E27FC236}">
                <a16:creationId xmlns:a16="http://schemas.microsoft.com/office/drawing/2014/main" id="{66CEEC6B-A5A7-D81E-7336-6AD32243A704}"/>
              </a:ext>
            </a:extLst>
          </p:cNvPr>
          <p:cNvPicPr>
            <a:picLocks noChangeAspect="1" noChangeArrowheads="1"/>
          </p:cNvPicPr>
          <p:nvPr/>
        </p:nvPicPr>
        <p:blipFill>
          <a:blip r:embed="rId34" cstate="print">
            <a:extLst>
              <a:ext uri="{28A0092B-C50C-407E-A947-70E740481C1C}">
                <a14:useLocalDpi xmlns:a14="http://schemas.microsoft.com/office/drawing/2010/main"/>
              </a:ext>
            </a:extLst>
          </a:blip>
          <a:srcRect/>
          <a:stretch>
            <a:fillRect/>
          </a:stretch>
        </p:blipFill>
        <p:spPr bwMode="auto">
          <a:xfrm>
            <a:off x="3049014" y="5122229"/>
            <a:ext cx="936893" cy="203115"/>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undefined">
            <a:extLst>
              <a:ext uri="{FF2B5EF4-FFF2-40B4-BE49-F238E27FC236}">
                <a16:creationId xmlns:a16="http://schemas.microsoft.com/office/drawing/2014/main" id="{CED35237-7B32-2438-84EF-6DF883D701A8}"/>
              </a:ext>
            </a:extLst>
          </p:cNvPr>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396996" y="5939708"/>
            <a:ext cx="1057543" cy="162349"/>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undefined">
            <a:extLst>
              <a:ext uri="{FF2B5EF4-FFF2-40B4-BE49-F238E27FC236}">
                <a16:creationId xmlns:a16="http://schemas.microsoft.com/office/drawing/2014/main" id="{698C0C5E-9900-DB18-D9A4-10B3AF5BEFCF}"/>
              </a:ext>
            </a:extLst>
          </p:cNvPr>
          <p:cNvPicPr>
            <a:picLocks noChangeAspect="1" noChangeArrowheads="1"/>
          </p:cNvPicPr>
          <p:nvPr/>
        </p:nvPicPr>
        <p:blipFill>
          <a:blip r:embed="rId36" cstate="print">
            <a:extLst>
              <a:ext uri="{28A0092B-C50C-407E-A947-70E740481C1C}">
                <a14:useLocalDpi xmlns:a14="http://schemas.microsoft.com/office/drawing/2010/main"/>
              </a:ext>
            </a:extLst>
          </a:blip>
          <a:srcRect/>
          <a:stretch>
            <a:fillRect/>
          </a:stretch>
        </p:blipFill>
        <p:spPr bwMode="auto">
          <a:xfrm>
            <a:off x="394227" y="6358440"/>
            <a:ext cx="1235343" cy="206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285503"/>
      </p:ext>
    </p:extLst>
  </p:cSld>
  <p:clrMapOvr>
    <a:masterClrMapping/>
  </p:clrMapOvr>
  <mc:AlternateContent xmlns:mc="http://schemas.openxmlformats.org/markup-compatibility/2006" xmlns:p14="http://schemas.microsoft.com/office/powerpoint/2010/main">
    <mc:Choice Requires="p14">
      <p:transition spd="slow" p14:dur="120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100"/>
                                  </p:stCondLst>
                                  <p:childTnLst>
                                    <p:set>
                                      <p:cBhvr>
                                        <p:cTn id="11" dur="1" fill="hold">
                                          <p:stCondLst>
                                            <p:cond delay="0"/>
                                          </p:stCondLst>
                                        </p:cTn>
                                        <p:tgtEl>
                                          <p:spTgt spid="1028"/>
                                        </p:tgtEl>
                                        <p:attrNameLst>
                                          <p:attrName>style.visibility</p:attrName>
                                        </p:attrNameLst>
                                      </p:cBhvr>
                                      <p:to>
                                        <p:strVal val="visible"/>
                                      </p:to>
                                    </p:set>
                                    <p:animEffect transition="in" filter="fade">
                                      <p:cBhvr>
                                        <p:cTn id="12" dur="1000"/>
                                        <p:tgtEl>
                                          <p:spTgt spid="1028"/>
                                        </p:tgtEl>
                                      </p:cBhvr>
                                    </p:animEffect>
                                    <p:anim calcmode="lin" valueType="num">
                                      <p:cBhvr>
                                        <p:cTn id="13" dur="1000" fill="hold"/>
                                        <p:tgtEl>
                                          <p:spTgt spid="1028"/>
                                        </p:tgtEl>
                                        <p:attrNameLst>
                                          <p:attrName>ppt_x</p:attrName>
                                        </p:attrNameLst>
                                      </p:cBhvr>
                                      <p:tavLst>
                                        <p:tav tm="0">
                                          <p:val>
                                            <p:strVal val="#ppt_x"/>
                                          </p:val>
                                        </p:tav>
                                        <p:tav tm="100000">
                                          <p:val>
                                            <p:strVal val="#ppt_x"/>
                                          </p:val>
                                        </p:tav>
                                      </p:tavLst>
                                    </p:anim>
                                    <p:anim calcmode="lin" valueType="num">
                                      <p:cBhvr>
                                        <p:cTn id="14" dur="1000" fill="hold"/>
                                        <p:tgtEl>
                                          <p:spTgt spid="102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200"/>
                                  </p:stCondLst>
                                  <p:childTnLst>
                                    <p:set>
                                      <p:cBhvr>
                                        <p:cTn id="16" dur="1" fill="hold">
                                          <p:stCondLst>
                                            <p:cond delay="0"/>
                                          </p:stCondLst>
                                        </p:cTn>
                                        <p:tgtEl>
                                          <p:spTgt spid="1030"/>
                                        </p:tgtEl>
                                        <p:attrNameLst>
                                          <p:attrName>style.visibility</p:attrName>
                                        </p:attrNameLst>
                                      </p:cBhvr>
                                      <p:to>
                                        <p:strVal val="visible"/>
                                      </p:to>
                                    </p:set>
                                    <p:animEffect transition="in" filter="fade">
                                      <p:cBhvr>
                                        <p:cTn id="17" dur="1000"/>
                                        <p:tgtEl>
                                          <p:spTgt spid="1030"/>
                                        </p:tgtEl>
                                      </p:cBhvr>
                                    </p:animEffect>
                                    <p:anim calcmode="lin" valueType="num">
                                      <p:cBhvr>
                                        <p:cTn id="18" dur="1000" fill="hold"/>
                                        <p:tgtEl>
                                          <p:spTgt spid="1030"/>
                                        </p:tgtEl>
                                        <p:attrNameLst>
                                          <p:attrName>ppt_x</p:attrName>
                                        </p:attrNameLst>
                                      </p:cBhvr>
                                      <p:tavLst>
                                        <p:tav tm="0">
                                          <p:val>
                                            <p:strVal val="#ppt_x"/>
                                          </p:val>
                                        </p:tav>
                                        <p:tav tm="100000">
                                          <p:val>
                                            <p:strVal val="#ppt_x"/>
                                          </p:val>
                                        </p:tav>
                                      </p:tavLst>
                                    </p:anim>
                                    <p:anim calcmode="lin" valueType="num">
                                      <p:cBhvr>
                                        <p:cTn id="19" dur="1000" fill="hold"/>
                                        <p:tgtEl>
                                          <p:spTgt spid="10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300"/>
                                  </p:stCondLst>
                                  <p:childTnLst>
                                    <p:set>
                                      <p:cBhvr>
                                        <p:cTn id="21" dur="1" fill="hold">
                                          <p:stCondLst>
                                            <p:cond delay="0"/>
                                          </p:stCondLst>
                                        </p:cTn>
                                        <p:tgtEl>
                                          <p:spTgt spid="1032"/>
                                        </p:tgtEl>
                                        <p:attrNameLst>
                                          <p:attrName>style.visibility</p:attrName>
                                        </p:attrNameLst>
                                      </p:cBhvr>
                                      <p:to>
                                        <p:strVal val="visible"/>
                                      </p:to>
                                    </p:set>
                                    <p:animEffect transition="in" filter="fade">
                                      <p:cBhvr>
                                        <p:cTn id="22" dur="1000"/>
                                        <p:tgtEl>
                                          <p:spTgt spid="1032"/>
                                        </p:tgtEl>
                                      </p:cBhvr>
                                    </p:animEffect>
                                    <p:anim calcmode="lin" valueType="num">
                                      <p:cBhvr>
                                        <p:cTn id="23" dur="1000" fill="hold"/>
                                        <p:tgtEl>
                                          <p:spTgt spid="1032"/>
                                        </p:tgtEl>
                                        <p:attrNameLst>
                                          <p:attrName>ppt_x</p:attrName>
                                        </p:attrNameLst>
                                      </p:cBhvr>
                                      <p:tavLst>
                                        <p:tav tm="0">
                                          <p:val>
                                            <p:strVal val="#ppt_x"/>
                                          </p:val>
                                        </p:tav>
                                        <p:tav tm="100000">
                                          <p:val>
                                            <p:strVal val="#ppt_x"/>
                                          </p:val>
                                        </p:tav>
                                      </p:tavLst>
                                    </p:anim>
                                    <p:anim calcmode="lin" valueType="num">
                                      <p:cBhvr>
                                        <p:cTn id="24" dur="1000" fill="hold"/>
                                        <p:tgtEl>
                                          <p:spTgt spid="1032"/>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400"/>
                                  </p:stCondLst>
                                  <p:childTnLst>
                                    <p:set>
                                      <p:cBhvr>
                                        <p:cTn id="26" dur="1" fill="hold">
                                          <p:stCondLst>
                                            <p:cond delay="0"/>
                                          </p:stCondLst>
                                        </p:cTn>
                                        <p:tgtEl>
                                          <p:spTgt spid="1034"/>
                                        </p:tgtEl>
                                        <p:attrNameLst>
                                          <p:attrName>style.visibility</p:attrName>
                                        </p:attrNameLst>
                                      </p:cBhvr>
                                      <p:to>
                                        <p:strVal val="visible"/>
                                      </p:to>
                                    </p:set>
                                    <p:animEffect transition="in" filter="fade">
                                      <p:cBhvr>
                                        <p:cTn id="27" dur="1000"/>
                                        <p:tgtEl>
                                          <p:spTgt spid="1034"/>
                                        </p:tgtEl>
                                      </p:cBhvr>
                                    </p:animEffect>
                                    <p:anim calcmode="lin" valueType="num">
                                      <p:cBhvr>
                                        <p:cTn id="28" dur="1000" fill="hold"/>
                                        <p:tgtEl>
                                          <p:spTgt spid="1034"/>
                                        </p:tgtEl>
                                        <p:attrNameLst>
                                          <p:attrName>ppt_x</p:attrName>
                                        </p:attrNameLst>
                                      </p:cBhvr>
                                      <p:tavLst>
                                        <p:tav tm="0">
                                          <p:val>
                                            <p:strVal val="#ppt_x"/>
                                          </p:val>
                                        </p:tav>
                                        <p:tav tm="100000">
                                          <p:val>
                                            <p:strVal val="#ppt_x"/>
                                          </p:val>
                                        </p:tav>
                                      </p:tavLst>
                                    </p:anim>
                                    <p:anim calcmode="lin" valueType="num">
                                      <p:cBhvr>
                                        <p:cTn id="29" dur="1000" fill="hold"/>
                                        <p:tgtEl>
                                          <p:spTgt spid="1034"/>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500"/>
                                  </p:stCondLst>
                                  <p:childTnLst>
                                    <p:set>
                                      <p:cBhvr>
                                        <p:cTn id="31" dur="1" fill="hold">
                                          <p:stCondLst>
                                            <p:cond delay="0"/>
                                          </p:stCondLst>
                                        </p:cTn>
                                        <p:tgtEl>
                                          <p:spTgt spid="1036"/>
                                        </p:tgtEl>
                                        <p:attrNameLst>
                                          <p:attrName>style.visibility</p:attrName>
                                        </p:attrNameLst>
                                      </p:cBhvr>
                                      <p:to>
                                        <p:strVal val="visible"/>
                                      </p:to>
                                    </p:set>
                                    <p:animEffect transition="in" filter="fade">
                                      <p:cBhvr>
                                        <p:cTn id="32" dur="1000"/>
                                        <p:tgtEl>
                                          <p:spTgt spid="1036"/>
                                        </p:tgtEl>
                                      </p:cBhvr>
                                    </p:animEffect>
                                    <p:anim calcmode="lin" valueType="num">
                                      <p:cBhvr>
                                        <p:cTn id="33" dur="1000" fill="hold"/>
                                        <p:tgtEl>
                                          <p:spTgt spid="1036"/>
                                        </p:tgtEl>
                                        <p:attrNameLst>
                                          <p:attrName>ppt_x</p:attrName>
                                        </p:attrNameLst>
                                      </p:cBhvr>
                                      <p:tavLst>
                                        <p:tav tm="0">
                                          <p:val>
                                            <p:strVal val="#ppt_x"/>
                                          </p:val>
                                        </p:tav>
                                        <p:tav tm="100000">
                                          <p:val>
                                            <p:strVal val="#ppt_x"/>
                                          </p:val>
                                        </p:tav>
                                      </p:tavLst>
                                    </p:anim>
                                    <p:anim calcmode="lin" valueType="num">
                                      <p:cBhvr>
                                        <p:cTn id="34" dur="1000" fill="hold"/>
                                        <p:tgtEl>
                                          <p:spTgt spid="103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600"/>
                                  </p:stCondLst>
                                  <p:childTnLst>
                                    <p:set>
                                      <p:cBhvr>
                                        <p:cTn id="36" dur="1" fill="hold">
                                          <p:stCondLst>
                                            <p:cond delay="0"/>
                                          </p:stCondLst>
                                        </p:cTn>
                                        <p:tgtEl>
                                          <p:spTgt spid="1038"/>
                                        </p:tgtEl>
                                        <p:attrNameLst>
                                          <p:attrName>style.visibility</p:attrName>
                                        </p:attrNameLst>
                                      </p:cBhvr>
                                      <p:to>
                                        <p:strVal val="visible"/>
                                      </p:to>
                                    </p:set>
                                    <p:animEffect transition="in" filter="fade">
                                      <p:cBhvr>
                                        <p:cTn id="37" dur="1000"/>
                                        <p:tgtEl>
                                          <p:spTgt spid="1038"/>
                                        </p:tgtEl>
                                      </p:cBhvr>
                                    </p:animEffect>
                                    <p:anim calcmode="lin" valueType="num">
                                      <p:cBhvr>
                                        <p:cTn id="38" dur="1000" fill="hold"/>
                                        <p:tgtEl>
                                          <p:spTgt spid="1038"/>
                                        </p:tgtEl>
                                        <p:attrNameLst>
                                          <p:attrName>ppt_x</p:attrName>
                                        </p:attrNameLst>
                                      </p:cBhvr>
                                      <p:tavLst>
                                        <p:tav tm="0">
                                          <p:val>
                                            <p:strVal val="#ppt_x"/>
                                          </p:val>
                                        </p:tav>
                                        <p:tav tm="100000">
                                          <p:val>
                                            <p:strVal val="#ppt_x"/>
                                          </p:val>
                                        </p:tav>
                                      </p:tavLst>
                                    </p:anim>
                                    <p:anim calcmode="lin" valueType="num">
                                      <p:cBhvr>
                                        <p:cTn id="39" dur="1000" fill="hold"/>
                                        <p:tgtEl>
                                          <p:spTgt spid="103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700"/>
                                  </p:stCondLst>
                                  <p:childTnLst>
                                    <p:set>
                                      <p:cBhvr>
                                        <p:cTn id="41" dur="1" fill="hold">
                                          <p:stCondLst>
                                            <p:cond delay="0"/>
                                          </p:stCondLst>
                                        </p:cTn>
                                        <p:tgtEl>
                                          <p:spTgt spid="1040"/>
                                        </p:tgtEl>
                                        <p:attrNameLst>
                                          <p:attrName>style.visibility</p:attrName>
                                        </p:attrNameLst>
                                      </p:cBhvr>
                                      <p:to>
                                        <p:strVal val="visible"/>
                                      </p:to>
                                    </p:set>
                                    <p:animEffect transition="in" filter="fade">
                                      <p:cBhvr>
                                        <p:cTn id="42" dur="1000"/>
                                        <p:tgtEl>
                                          <p:spTgt spid="1040"/>
                                        </p:tgtEl>
                                      </p:cBhvr>
                                    </p:animEffect>
                                    <p:anim calcmode="lin" valueType="num">
                                      <p:cBhvr>
                                        <p:cTn id="43" dur="1000" fill="hold"/>
                                        <p:tgtEl>
                                          <p:spTgt spid="1040"/>
                                        </p:tgtEl>
                                        <p:attrNameLst>
                                          <p:attrName>ppt_x</p:attrName>
                                        </p:attrNameLst>
                                      </p:cBhvr>
                                      <p:tavLst>
                                        <p:tav tm="0">
                                          <p:val>
                                            <p:strVal val="#ppt_x"/>
                                          </p:val>
                                        </p:tav>
                                        <p:tav tm="100000">
                                          <p:val>
                                            <p:strVal val="#ppt_x"/>
                                          </p:val>
                                        </p:tav>
                                      </p:tavLst>
                                    </p:anim>
                                    <p:anim calcmode="lin" valueType="num">
                                      <p:cBhvr>
                                        <p:cTn id="44" dur="1000" fill="hold"/>
                                        <p:tgtEl>
                                          <p:spTgt spid="1040"/>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8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900"/>
                                  </p:stCondLst>
                                  <p:childTnLst>
                                    <p:set>
                                      <p:cBhvr>
                                        <p:cTn id="51" dur="1" fill="hold">
                                          <p:stCondLst>
                                            <p:cond delay="0"/>
                                          </p:stCondLst>
                                        </p:cTn>
                                        <p:tgtEl>
                                          <p:spTgt spid="1042"/>
                                        </p:tgtEl>
                                        <p:attrNameLst>
                                          <p:attrName>style.visibility</p:attrName>
                                        </p:attrNameLst>
                                      </p:cBhvr>
                                      <p:to>
                                        <p:strVal val="visible"/>
                                      </p:to>
                                    </p:set>
                                    <p:animEffect transition="in" filter="fade">
                                      <p:cBhvr>
                                        <p:cTn id="52" dur="1000"/>
                                        <p:tgtEl>
                                          <p:spTgt spid="1042"/>
                                        </p:tgtEl>
                                      </p:cBhvr>
                                    </p:animEffect>
                                    <p:anim calcmode="lin" valueType="num">
                                      <p:cBhvr>
                                        <p:cTn id="53" dur="1000" fill="hold"/>
                                        <p:tgtEl>
                                          <p:spTgt spid="1042"/>
                                        </p:tgtEl>
                                        <p:attrNameLst>
                                          <p:attrName>ppt_x</p:attrName>
                                        </p:attrNameLst>
                                      </p:cBhvr>
                                      <p:tavLst>
                                        <p:tav tm="0">
                                          <p:val>
                                            <p:strVal val="#ppt_x"/>
                                          </p:val>
                                        </p:tav>
                                        <p:tav tm="100000">
                                          <p:val>
                                            <p:strVal val="#ppt_x"/>
                                          </p:val>
                                        </p:tav>
                                      </p:tavLst>
                                    </p:anim>
                                    <p:anim calcmode="lin" valueType="num">
                                      <p:cBhvr>
                                        <p:cTn id="54" dur="1000" fill="hold"/>
                                        <p:tgtEl>
                                          <p:spTgt spid="1042"/>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1000"/>
                                  </p:stCondLst>
                                  <p:childTnLst>
                                    <p:set>
                                      <p:cBhvr>
                                        <p:cTn id="56" dur="1" fill="hold">
                                          <p:stCondLst>
                                            <p:cond delay="0"/>
                                          </p:stCondLst>
                                        </p:cTn>
                                        <p:tgtEl>
                                          <p:spTgt spid="1044"/>
                                        </p:tgtEl>
                                        <p:attrNameLst>
                                          <p:attrName>style.visibility</p:attrName>
                                        </p:attrNameLst>
                                      </p:cBhvr>
                                      <p:to>
                                        <p:strVal val="visible"/>
                                      </p:to>
                                    </p:set>
                                    <p:animEffect transition="in" filter="fade">
                                      <p:cBhvr>
                                        <p:cTn id="57" dur="1000"/>
                                        <p:tgtEl>
                                          <p:spTgt spid="1044"/>
                                        </p:tgtEl>
                                      </p:cBhvr>
                                    </p:animEffect>
                                    <p:anim calcmode="lin" valueType="num">
                                      <p:cBhvr>
                                        <p:cTn id="58" dur="1000" fill="hold"/>
                                        <p:tgtEl>
                                          <p:spTgt spid="1044"/>
                                        </p:tgtEl>
                                        <p:attrNameLst>
                                          <p:attrName>ppt_x</p:attrName>
                                        </p:attrNameLst>
                                      </p:cBhvr>
                                      <p:tavLst>
                                        <p:tav tm="0">
                                          <p:val>
                                            <p:strVal val="#ppt_x"/>
                                          </p:val>
                                        </p:tav>
                                        <p:tav tm="100000">
                                          <p:val>
                                            <p:strVal val="#ppt_x"/>
                                          </p:val>
                                        </p:tav>
                                      </p:tavLst>
                                    </p:anim>
                                    <p:anim calcmode="lin" valueType="num">
                                      <p:cBhvr>
                                        <p:cTn id="59" dur="1000" fill="hold"/>
                                        <p:tgtEl>
                                          <p:spTgt spid="104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1100"/>
                                  </p:stCondLst>
                                  <p:childTnLst>
                                    <p:set>
                                      <p:cBhvr>
                                        <p:cTn id="61" dur="1" fill="hold">
                                          <p:stCondLst>
                                            <p:cond delay="0"/>
                                          </p:stCondLst>
                                        </p:cTn>
                                        <p:tgtEl>
                                          <p:spTgt spid="1046"/>
                                        </p:tgtEl>
                                        <p:attrNameLst>
                                          <p:attrName>style.visibility</p:attrName>
                                        </p:attrNameLst>
                                      </p:cBhvr>
                                      <p:to>
                                        <p:strVal val="visible"/>
                                      </p:to>
                                    </p:set>
                                    <p:animEffect transition="in" filter="fade">
                                      <p:cBhvr>
                                        <p:cTn id="62" dur="1000"/>
                                        <p:tgtEl>
                                          <p:spTgt spid="1046"/>
                                        </p:tgtEl>
                                      </p:cBhvr>
                                    </p:animEffect>
                                    <p:anim calcmode="lin" valueType="num">
                                      <p:cBhvr>
                                        <p:cTn id="63" dur="1000" fill="hold"/>
                                        <p:tgtEl>
                                          <p:spTgt spid="1046"/>
                                        </p:tgtEl>
                                        <p:attrNameLst>
                                          <p:attrName>ppt_x</p:attrName>
                                        </p:attrNameLst>
                                      </p:cBhvr>
                                      <p:tavLst>
                                        <p:tav tm="0">
                                          <p:val>
                                            <p:strVal val="#ppt_x"/>
                                          </p:val>
                                        </p:tav>
                                        <p:tav tm="100000">
                                          <p:val>
                                            <p:strVal val="#ppt_x"/>
                                          </p:val>
                                        </p:tav>
                                      </p:tavLst>
                                    </p:anim>
                                    <p:anim calcmode="lin" valueType="num">
                                      <p:cBhvr>
                                        <p:cTn id="64" dur="1000" fill="hold"/>
                                        <p:tgtEl>
                                          <p:spTgt spid="104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1200"/>
                                  </p:stCondLst>
                                  <p:childTnLst>
                                    <p:set>
                                      <p:cBhvr>
                                        <p:cTn id="66" dur="1" fill="hold">
                                          <p:stCondLst>
                                            <p:cond delay="0"/>
                                          </p:stCondLst>
                                        </p:cTn>
                                        <p:tgtEl>
                                          <p:spTgt spid="1048"/>
                                        </p:tgtEl>
                                        <p:attrNameLst>
                                          <p:attrName>style.visibility</p:attrName>
                                        </p:attrNameLst>
                                      </p:cBhvr>
                                      <p:to>
                                        <p:strVal val="visible"/>
                                      </p:to>
                                    </p:set>
                                    <p:animEffect transition="in" filter="fade">
                                      <p:cBhvr>
                                        <p:cTn id="67" dur="1000"/>
                                        <p:tgtEl>
                                          <p:spTgt spid="1048"/>
                                        </p:tgtEl>
                                      </p:cBhvr>
                                    </p:animEffect>
                                    <p:anim calcmode="lin" valueType="num">
                                      <p:cBhvr>
                                        <p:cTn id="68" dur="1000" fill="hold"/>
                                        <p:tgtEl>
                                          <p:spTgt spid="1048"/>
                                        </p:tgtEl>
                                        <p:attrNameLst>
                                          <p:attrName>ppt_x</p:attrName>
                                        </p:attrNameLst>
                                      </p:cBhvr>
                                      <p:tavLst>
                                        <p:tav tm="0">
                                          <p:val>
                                            <p:strVal val="#ppt_x"/>
                                          </p:val>
                                        </p:tav>
                                        <p:tav tm="100000">
                                          <p:val>
                                            <p:strVal val="#ppt_x"/>
                                          </p:val>
                                        </p:tav>
                                      </p:tavLst>
                                    </p:anim>
                                    <p:anim calcmode="lin" valueType="num">
                                      <p:cBhvr>
                                        <p:cTn id="69" dur="1000" fill="hold"/>
                                        <p:tgtEl>
                                          <p:spTgt spid="104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300"/>
                                  </p:stCondLst>
                                  <p:childTnLst>
                                    <p:set>
                                      <p:cBhvr>
                                        <p:cTn id="71" dur="1" fill="hold">
                                          <p:stCondLst>
                                            <p:cond delay="0"/>
                                          </p:stCondLst>
                                        </p:cTn>
                                        <p:tgtEl>
                                          <p:spTgt spid="1052"/>
                                        </p:tgtEl>
                                        <p:attrNameLst>
                                          <p:attrName>style.visibility</p:attrName>
                                        </p:attrNameLst>
                                      </p:cBhvr>
                                      <p:to>
                                        <p:strVal val="visible"/>
                                      </p:to>
                                    </p:set>
                                    <p:animEffect transition="in" filter="fade">
                                      <p:cBhvr>
                                        <p:cTn id="72" dur="1000"/>
                                        <p:tgtEl>
                                          <p:spTgt spid="1052"/>
                                        </p:tgtEl>
                                      </p:cBhvr>
                                    </p:animEffect>
                                    <p:anim calcmode="lin" valueType="num">
                                      <p:cBhvr>
                                        <p:cTn id="73" dur="1000" fill="hold"/>
                                        <p:tgtEl>
                                          <p:spTgt spid="1052"/>
                                        </p:tgtEl>
                                        <p:attrNameLst>
                                          <p:attrName>ppt_x</p:attrName>
                                        </p:attrNameLst>
                                      </p:cBhvr>
                                      <p:tavLst>
                                        <p:tav tm="0">
                                          <p:val>
                                            <p:strVal val="#ppt_x"/>
                                          </p:val>
                                        </p:tav>
                                        <p:tav tm="100000">
                                          <p:val>
                                            <p:strVal val="#ppt_x"/>
                                          </p:val>
                                        </p:tav>
                                      </p:tavLst>
                                    </p:anim>
                                    <p:anim calcmode="lin" valueType="num">
                                      <p:cBhvr>
                                        <p:cTn id="74" dur="1000" fill="hold"/>
                                        <p:tgtEl>
                                          <p:spTgt spid="105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1400"/>
                                  </p:stCondLst>
                                  <p:childTnLst>
                                    <p:set>
                                      <p:cBhvr>
                                        <p:cTn id="76" dur="1" fill="hold">
                                          <p:stCondLst>
                                            <p:cond delay="0"/>
                                          </p:stCondLst>
                                        </p:cTn>
                                        <p:tgtEl>
                                          <p:spTgt spid="1056"/>
                                        </p:tgtEl>
                                        <p:attrNameLst>
                                          <p:attrName>style.visibility</p:attrName>
                                        </p:attrNameLst>
                                      </p:cBhvr>
                                      <p:to>
                                        <p:strVal val="visible"/>
                                      </p:to>
                                    </p:set>
                                    <p:animEffect transition="in" filter="fade">
                                      <p:cBhvr>
                                        <p:cTn id="77" dur="1000"/>
                                        <p:tgtEl>
                                          <p:spTgt spid="1056"/>
                                        </p:tgtEl>
                                      </p:cBhvr>
                                    </p:animEffect>
                                    <p:anim calcmode="lin" valueType="num">
                                      <p:cBhvr>
                                        <p:cTn id="78" dur="1000" fill="hold"/>
                                        <p:tgtEl>
                                          <p:spTgt spid="1056"/>
                                        </p:tgtEl>
                                        <p:attrNameLst>
                                          <p:attrName>ppt_x</p:attrName>
                                        </p:attrNameLst>
                                      </p:cBhvr>
                                      <p:tavLst>
                                        <p:tav tm="0">
                                          <p:val>
                                            <p:strVal val="#ppt_x"/>
                                          </p:val>
                                        </p:tav>
                                        <p:tav tm="100000">
                                          <p:val>
                                            <p:strVal val="#ppt_x"/>
                                          </p:val>
                                        </p:tav>
                                      </p:tavLst>
                                    </p:anim>
                                    <p:anim calcmode="lin" valueType="num">
                                      <p:cBhvr>
                                        <p:cTn id="79" dur="1000" fill="hold"/>
                                        <p:tgtEl>
                                          <p:spTgt spid="1056"/>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1400"/>
                                  </p:stCondLst>
                                  <p:childTnLst>
                                    <p:set>
                                      <p:cBhvr>
                                        <p:cTn id="81" dur="1" fill="hold">
                                          <p:stCondLst>
                                            <p:cond delay="0"/>
                                          </p:stCondLst>
                                        </p:cTn>
                                        <p:tgtEl>
                                          <p:spTgt spid="1068"/>
                                        </p:tgtEl>
                                        <p:attrNameLst>
                                          <p:attrName>style.visibility</p:attrName>
                                        </p:attrNameLst>
                                      </p:cBhvr>
                                      <p:to>
                                        <p:strVal val="visible"/>
                                      </p:to>
                                    </p:set>
                                    <p:animEffect transition="in" filter="fade">
                                      <p:cBhvr>
                                        <p:cTn id="82" dur="1000"/>
                                        <p:tgtEl>
                                          <p:spTgt spid="1068"/>
                                        </p:tgtEl>
                                      </p:cBhvr>
                                    </p:animEffect>
                                    <p:anim calcmode="lin" valueType="num">
                                      <p:cBhvr>
                                        <p:cTn id="83" dur="1000" fill="hold"/>
                                        <p:tgtEl>
                                          <p:spTgt spid="1068"/>
                                        </p:tgtEl>
                                        <p:attrNameLst>
                                          <p:attrName>ppt_x</p:attrName>
                                        </p:attrNameLst>
                                      </p:cBhvr>
                                      <p:tavLst>
                                        <p:tav tm="0">
                                          <p:val>
                                            <p:strVal val="#ppt_x"/>
                                          </p:val>
                                        </p:tav>
                                        <p:tav tm="100000">
                                          <p:val>
                                            <p:strVal val="#ppt_x"/>
                                          </p:val>
                                        </p:tav>
                                      </p:tavLst>
                                    </p:anim>
                                    <p:anim calcmode="lin" valueType="num">
                                      <p:cBhvr>
                                        <p:cTn id="84" dur="1000" fill="hold"/>
                                        <p:tgtEl>
                                          <p:spTgt spid="1068"/>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1400"/>
                                  </p:stCondLst>
                                  <p:childTnLst>
                                    <p:set>
                                      <p:cBhvr>
                                        <p:cTn id="86" dur="1" fill="hold">
                                          <p:stCondLst>
                                            <p:cond delay="0"/>
                                          </p:stCondLst>
                                        </p:cTn>
                                        <p:tgtEl>
                                          <p:spTgt spid="1054"/>
                                        </p:tgtEl>
                                        <p:attrNameLst>
                                          <p:attrName>style.visibility</p:attrName>
                                        </p:attrNameLst>
                                      </p:cBhvr>
                                      <p:to>
                                        <p:strVal val="visible"/>
                                      </p:to>
                                    </p:set>
                                    <p:animEffect transition="in" filter="fade">
                                      <p:cBhvr>
                                        <p:cTn id="87" dur="1000"/>
                                        <p:tgtEl>
                                          <p:spTgt spid="1054"/>
                                        </p:tgtEl>
                                      </p:cBhvr>
                                    </p:animEffect>
                                    <p:anim calcmode="lin" valueType="num">
                                      <p:cBhvr>
                                        <p:cTn id="88" dur="1000" fill="hold"/>
                                        <p:tgtEl>
                                          <p:spTgt spid="1054"/>
                                        </p:tgtEl>
                                        <p:attrNameLst>
                                          <p:attrName>ppt_x</p:attrName>
                                        </p:attrNameLst>
                                      </p:cBhvr>
                                      <p:tavLst>
                                        <p:tav tm="0">
                                          <p:val>
                                            <p:strVal val="#ppt_x"/>
                                          </p:val>
                                        </p:tav>
                                        <p:tav tm="100000">
                                          <p:val>
                                            <p:strVal val="#ppt_x"/>
                                          </p:val>
                                        </p:tav>
                                      </p:tavLst>
                                    </p:anim>
                                    <p:anim calcmode="lin" valueType="num">
                                      <p:cBhvr>
                                        <p:cTn id="89" dur="1000" fill="hold"/>
                                        <p:tgtEl>
                                          <p:spTgt spid="1054"/>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1500"/>
                                  </p:stCondLst>
                                  <p:childTnLst>
                                    <p:set>
                                      <p:cBhvr>
                                        <p:cTn id="91" dur="1" fill="hold">
                                          <p:stCondLst>
                                            <p:cond delay="0"/>
                                          </p:stCondLst>
                                        </p:cTn>
                                        <p:tgtEl>
                                          <p:spTgt spid="1060"/>
                                        </p:tgtEl>
                                        <p:attrNameLst>
                                          <p:attrName>style.visibility</p:attrName>
                                        </p:attrNameLst>
                                      </p:cBhvr>
                                      <p:to>
                                        <p:strVal val="visible"/>
                                      </p:to>
                                    </p:set>
                                    <p:animEffect transition="in" filter="fade">
                                      <p:cBhvr>
                                        <p:cTn id="92" dur="1000"/>
                                        <p:tgtEl>
                                          <p:spTgt spid="1060"/>
                                        </p:tgtEl>
                                      </p:cBhvr>
                                    </p:animEffect>
                                    <p:anim calcmode="lin" valueType="num">
                                      <p:cBhvr>
                                        <p:cTn id="93" dur="1000" fill="hold"/>
                                        <p:tgtEl>
                                          <p:spTgt spid="1060"/>
                                        </p:tgtEl>
                                        <p:attrNameLst>
                                          <p:attrName>ppt_x</p:attrName>
                                        </p:attrNameLst>
                                      </p:cBhvr>
                                      <p:tavLst>
                                        <p:tav tm="0">
                                          <p:val>
                                            <p:strVal val="#ppt_x"/>
                                          </p:val>
                                        </p:tav>
                                        <p:tav tm="100000">
                                          <p:val>
                                            <p:strVal val="#ppt_x"/>
                                          </p:val>
                                        </p:tav>
                                      </p:tavLst>
                                    </p:anim>
                                    <p:anim calcmode="lin" valueType="num">
                                      <p:cBhvr>
                                        <p:cTn id="94" dur="1000" fill="hold"/>
                                        <p:tgtEl>
                                          <p:spTgt spid="1060"/>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1500"/>
                                  </p:stCondLst>
                                  <p:childTnLst>
                                    <p:set>
                                      <p:cBhvr>
                                        <p:cTn id="96" dur="1" fill="hold">
                                          <p:stCondLst>
                                            <p:cond delay="0"/>
                                          </p:stCondLst>
                                        </p:cTn>
                                        <p:tgtEl>
                                          <p:spTgt spid="1058"/>
                                        </p:tgtEl>
                                        <p:attrNameLst>
                                          <p:attrName>style.visibility</p:attrName>
                                        </p:attrNameLst>
                                      </p:cBhvr>
                                      <p:to>
                                        <p:strVal val="visible"/>
                                      </p:to>
                                    </p:set>
                                    <p:animEffect transition="in" filter="fade">
                                      <p:cBhvr>
                                        <p:cTn id="97" dur="1000"/>
                                        <p:tgtEl>
                                          <p:spTgt spid="1058"/>
                                        </p:tgtEl>
                                      </p:cBhvr>
                                    </p:animEffect>
                                    <p:anim calcmode="lin" valueType="num">
                                      <p:cBhvr>
                                        <p:cTn id="98" dur="1000" fill="hold"/>
                                        <p:tgtEl>
                                          <p:spTgt spid="1058"/>
                                        </p:tgtEl>
                                        <p:attrNameLst>
                                          <p:attrName>ppt_x</p:attrName>
                                        </p:attrNameLst>
                                      </p:cBhvr>
                                      <p:tavLst>
                                        <p:tav tm="0">
                                          <p:val>
                                            <p:strVal val="#ppt_x"/>
                                          </p:val>
                                        </p:tav>
                                        <p:tav tm="100000">
                                          <p:val>
                                            <p:strVal val="#ppt_x"/>
                                          </p:val>
                                        </p:tav>
                                      </p:tavLst>
                                    </p:anim>
                                    <p:anim calcmode="lin" valueType="num">
                                      <p:cBhvr>
                                        <p:cTn id="99" dur="1000" fill="hold"/>
                                        <p:tgtEl>
                                          <p:spTgt spid="10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1600"/>
                                  </p:stCondLst>
                                  <p:childTnLst>
                                    <p:set>
                                      <p:cBhvr>
                                        <p:cTn id="101" dur="1" fill="hold">
                                          <p:stCondLst>
                                            <p:cond delay="0"/>
                                          </p:stCondLst>
                                        </p:cTn>
                                        <p:tgtEl>
                                          <p:spTgt spid="1062"/>
                                        </p:tgtEl>
                                        <p:attrNameLst>
                                          <p:attrName>style.visibility</p:attrName>
                                        </p:attrNameLst>
                                      </p:cBhvr>
                                      <p:to>
                                        <p:strVal val="visible"/>
                                      </p:to>
                                    </p:set>
                                    <p:animEffect transition="in" filter="fade">
                                      <p:cBhvr>
                                        <p:cTn id="102" dur="1000"/>
                                        <p:tgtEl>
                                          <p:spTgt spid="1062"/>
                                        </p:tgtEl>
                                      </p:cBhvr>
                                    </p:animEffect>
                                    <p:anim calcmode="lin" valueType="num">
                                      <p:cBhvr>
                                        <p:cTn id="103" dur="1000" fill="hold"/>
                                        <p:tgtEl>
                                          <p:spTgt spid="1062"/>
                                        </p:tgtEl>
                                        <p:attrNameLst>
                                          <p:attrName>ppt_x</p:attrName>
                                        </p:attrNameLst>
                                      </p:cBhvr>
                                      <p:tavLst>
                                        <p:tav tm="0">
                                          <p:val>
                                            <p:strVal val="#ppt_x"/>
                                          </p:val>
                                        </p:tav>
                                        <p:tav tm="100000">
                                          <p:val>
                                            <p:strVal val="#ppt_x"/>
                                          </p:val>
                                        </p:tav>
                                      </p:tavLst>
                                    </p:anim>
                                    <p:anim calcmode="lin" valueType="num">
                                      <p:cBhvr>
                                        <p:cTn id="104" dur="1000" fill="hold"/>
                                        <p:tgtEl>
                                          <p:spTgt spid="1062"/>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1600"/>
                                  </p:stCondLst>
                                  <p:childTnLst>
                                    <p:set>
                                      <p:cBhvr>
                                        <p:cTn id="106" dur="1" fill="hold">
                                          <p:stCondLst>
                                            <p:cond delay="0"/>
                                          </p:stCondLst>
                                        </p:cTn>
                                        <p:tgtEl>
                                          <p:spTgt spid="1066"/>
                                        </p:tgtEl>
                                        <p:attrNameLst>
                                          <p:attrName>style.visibility</p:attrName>
                                        </p:attrNameLst>
                                      </p:cBhvr>
                                      <p:to>
                                        <p:strVal val="visible"/>
                                      </p:to>
                                    </p:set>
                                    <p:animEffect transition="in" filter="fade">
                                      <p:cBhvr>
                                        <p:cTn id="107" dur="1000"/>
                                        <p:tgtEl>
                                          <p:spTgt spid="1066"/>
                                        </p:tgtEl>
                                      </p:cBhvr>
                                    </p:animEffect>
                                    <p:anim calcmode="lin" valueType="num">
                                      <p:cBhvr>
                                        <p:cTn id="108" dur="1000" fill="hold"/>
                                        <p:tgtEl>
                                          <p:spTgt spid="1066"/>
                                        </p:tgtEl>
                                        <p:attrNameLst>
                                          <p:attrName>ppt_x</p:attrName>
                                        </p:attrNameLst>
                                      </p:cBhvr>
                                      <p:tavLst>
                                        <p:tav tm="0">
                                          <p:val>
                                            <p:strVal val="#ppt_x"/>
                                          </p:val>
                                        </p:tav>
                                        <p:tav tm="100000">
                                          <p:val>
                                            <p:strVal val="#ppt_x"/>
                                          </p:val>
                                        </p:tav>
                                      </p:tavLst>
                                    </p:anim>
                                    <p:anim calcmode="lin" valueType="num">
                                      <p:cBhvr>
                                        <p:cTn id="109" dur="1000" fill="hold"/>
                                        <p:tgtEl>
                                          <p:spTgt spid="1066"/>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1700"/>
                                  </p:stCondLst>
                                  <p:childTnLst>
                                    <p:set>
                                      <p:cBhvr>
                                        <p:cTn id="111" dur="1" fill="hold">
                                          <p:stCondLst>
                                            <p:cond delay="0"/>
                                          </p:stCondLst>
                                        </p:cTn>
                                        <p:tgtEl>
                                          <p:spTgt spid="40"/>
                                        </p:tgtEl>
                                        <p:attrNameLst>
                                          <p:attrName>style.visibility</p:attrName>
                                        </p:attrNameLst>
                                      </p:cBhvr>
                                      <p:to>
                                        <p:strVal val="visible"/>
                                      </p:to>
                                    </p:set>
                                    <p:animEffect transition="in" filter="fade">
                                      <p:cBhvr>
                                        <p:cTn id="112" dur="1000"/>
                                        <p:tgtEl>
                                          <p:spTgt spid="40"/>
                                        </p:tgtEl>
                                      </p:cBhvr>
                                    </p:animEffect>
                                    <p:anim calcmode="lin" valueType="num">
                                      <p:cBhvr>
                                        <p:cTn id="113" dur="1000" fill="hold"/>
                                        <p:tgtEl>
                                          <p:spTgt spid="40"/>
                                        </p:tgtEl>
                                        <p:attrNameLst>
                                          <p:attrName>ppt_x</p:attrName>
                                        </p:attrNameLst>
                                      </p:cBhvr>
                                      <p:tavLst>
                                        <p:tav tm="0">
                                          <p:val>
                                            <p:strVal val="#ppt_x"/>
                                          </p:val>
                                        </p:tav>
                                        <p:tav tm="100000">
                                          <p:val>
                                            <p:strVal val="#ppt_x"/>
                                          </p:val>
                                        </p:tav>
                                      </p:tavLst>
                                    </p:anim>
                                    <p:anim calcmode="lin" valueType="num">
                                      <p:cBhvr>
                                        <p:cTn id="114" dur="1000" fill="hold"/>
                                        <p:tgtEl>
                                          <p:spTgt spid="40"/>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1800"/>
                                  </p:stCondLst>
                                  <p:childTnLst>
                                    <p:set>
                                      <p:cBhvr>
                                        <p:cTn id="116" dur="1" fill="hold">
                                          <p:stCondLst>
                                            <p:cond delay="0"/>
                                          </p:stCondLst>
                                        </p:cTn>
                                        <p:tgtEl>
                                          <p:spTgt spid="1072"/>
                                        </p:tgtEl>
                                        <p:attrNameLst>
                                          <p:attrName>style.visibility</p:attrName>
                                        </p:attrNameLst>
                                      </p:cBhvr>
                                      <p:to>
                                        <p:strVal val="visible"/>
                                      </p:to>
                                    </p:set>
                                    <p:animEffect transition="in" filter="fade">
                                      <p:cBhvr>
                                        <p:cTn id="117" dur="1000"/>
                                        <p:tgtEl>
                                          <p:spTgt spid="1072"/>
                                        </p:tgtEl>
                                      </p:cBhvr>
                                    </p:animEffect>
                                    <p:anim calcmode="lin" valueType="num">
                                      <p:cBhvr>
                                        <p:cTn id="118" dur="1000" fill="hold"/>
                                        <p:tgtEl>
                                          <p:spTgt spid="1072"/>
                                        </p:tgtEl>
                                        <p:attrNameLst>
                                          <p:attrName>ppt_x</p:attrName>
                                        </p:attrNameLst>
                                      </p:cBhvr>
                                      <p:tavLst>
                                        <p:tav tm="0">
                                          <p:val>
                                            <p:strVal val="#ppt_x"/>
                                          </p:val>
                                        </p:tav>
                                        <p:tav tm="100000">
                                          <p:val>
                                            <p:strVal val="#ppt_x"/>
                                          </p:val>
                                        </p:tav>
                                      </p:tavLst>
                                    </p:anim>
                                    <p:anim calcmode="lin" valueType="num">
                                      <p:cBhvr>
                                        <p:cTn id="119" dur="1000" fill="hold"/>
                                        <p:tgtEl>
                                          <p:spTgt spid="1072"/>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1900"/>
                                  </p:stCondLst>
                                  <p:childTnLst>
                                    <p:set>
                                      <p:cBhvr>
                                        <p:cTn id="121" dur="1" fill="hold">
                                          <p:stCondLst>
                                            <p:cond delay="0"/>
                                          </p:stCondLst>
                                        </p:cTn>
                                        <p:tgtEl>
                                          <p:spTgt spid="1070"/>
                                        </p:tgtEl>
                                        <p:attrNameLst>
                                          <p:attrName>style.visibility</p:attrName>
                                        </p:attrNameLst>
                                      </p:cBhvr>
                                      <p:to>
                                        <p:strVal val="visible"/>
                                      </p:to>
                                    </p:set>
                                    <p:animEffect transition="in" filter="fade">
                                      <p:cBhvr>
                                        <p:cTn id="122" dur="1000"/>
                                        <p:tgtEl>
                                          <p:spTgt spid="1070"/>
                                        </p:tgtEl>
                                      </p:cBhvr>
                                    </p:animEffect>
                                    <p:anim calcmode="lin" valueType="num">
                                      <p:cBhvr>
                                        <p:cTn id="123" dur="1000" fill="hold"/>
                                        <p:tgtEl>
                                          <p:spTgt spid="1070"/>
                                        </p:tgtEl>
                                        <p:attrNameLst>
                                          <p:attrName>ppt_x</p:attrName>
                                        </p:attrNameLst>
                                      </p:cBhvr>
                                      <p:tavLst>
                                        <p:tav tm="0">
                                          <p:val>
                                            <p:strVal val="#ppt_x"/>
                                          </p:val>
                                        </p:tav>
                                        <p:tav tm="100000">
                                          <p:val>
                                            <p:strVal val="#ppt_x"/>
                                          </p:val>
                                        </p:tav>
                                      </p:tavLst>
                                    </p:anim>
                                    <p:anim calcmode="lin" valueType="num">
                                      <p:cBhvr>
                                        <p:cTn id="124" dur="1000" fill="hold"/>
                                        <p:tgtEl>
                                          <p:spTgt spid="1070"/>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2000"/>
                                  </p:stCondLst>
                                  <p:childTnLst>
                                    <p:set>
                                      <p:cBhvr>
                                        <p:cTn id="126" dur="1" fill="hold">
                                          <p:stCondLst>
                                            <p:cond delay="0"/>
                                          </p:stCondLst>
                                        </p:cTn>
                                        <p:tgtEl>
                                          <p:spTgt spid="1064"/>
                                        </p:tgtEl>
                                        <p:attrNameLst>
                                          <p:attrName>style.visibility</p:attrName>
                                        </p:attrNameLst>
                                      </p:cBhvr>
                                      <p:to>
                                        <p:strVal val="visible"/>
                                      </p:to>
                                    </p:set>
                                    <p:animEffect transition="in" filter="fade">
                                      <p:cBhvr>
                                        <p:cTn id="127" dur="1000"/>
                                        <p:tgtEl>
                                          <p:spTgt spid="1064"/>
                                        </p:tgtEl>
                                      </p:cBhvr>
                                    </p:animEffect>
                                    <p:anim calcmode="lin" valueType="num">
                                      <p:cBhvr>
                                        <p:cTn id="128" dur="1000" fill="hold"/>
                                        <p:tgtEl>
                                          <p:spTgt spid="1064"/>
                                        </p:tgtEl>
                                        <p:attrNameLst>
                                          <p:attrName>ppt_x</p:attrName>
                                        </p:attrNameLst>
                                      </p:cBhvr>
                                      <p:tavLst>
                                        <p:tav tm="0">
                                          <p:val>
                                            <p:strVal val="#ppt_x"/>
                                          </p:val>
                                        </p:tav>
                                        <p:tav tm="100000">
                                          <p:val>
                                            <p:strVal val="#ppt_x"/>
                                          </p:val>
                                        </p:tav>
                                      </p:tavLst>
                                    </p:anim>
                                    <p:anim calcmode="lin" valueType="num">
                                      <p:cBhvr>
                                        <p:cTn id="129" dur="1000" fill="hold"/>
                                        <p:tgtEl>
                                          <p:spTgt spid="1064"/>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2100"/>
                                  </p:stCondLst>
                                  <p:childTnLst>
                                    <p:set>
                                      <p:cBhvr>
                                        <p:cTn id="131" dur="1" fill="hold">
                                          <p:stCondLst>
                                            <p:cond delay="0"/>
                                          </p:stCondLst>
                                        </p:cTn>
                                        <p:tgtEl>
                                          <p:spTgt spid="1074"/>
                                        </p:tgtEl>
                                        <p:attrNameLst>
                                          <p:attrName>style.visibility</p:attrName>
                                        </p:attrNameLst>
                                      </p:cBhvr>
                                      <p:to>
                                        <p:strVal val="visible"/>
                                      </p:to>
                                    </p:set>
                                    <p:animEffect transition="in" filter="fade">
                                      <p:cBhvr>
                                        <p:cTn id="132" dur="1000"/>
                                        <p:tgtEl>
                                          <p:spTgt spid="1074"/>
                                        </p:tgtEl>
                                      </p:cBhvr>
                                    </p:animEffect>
                                    <p:anim calcmode="lin" valueType="num">
                                      <p:cBhvr>
                                        <p:cTn id="133" dur="1000" fill="hold"/>
                                        <p:tgtEl>
                                          <p:spTgt spid="1074"/>
                                        </p:tgtEl>
                                        <p:attrNameLst>
                                          <p:attrName>ppt_x</p:attrName>
                                        </p:attrNameLst>
                                      </p:cBhvr>
                                      <p:tavLst>
                                        <p:tav tm="0">
                                          <p:val>
                                            <p:strVal val="#ppt_x"/>
                                          </p:val>
                                        </p:tav>
                                        <p:tav tm="100000">
                                          <p:val>
                                            <p:strVal val="#ppt_x"/>
                                          </p:val>
                                        </p:tav>
                                      </p:tavLst>
                                    </p:anim>
                                    <p:anim calcmode="lin" valueType="num">
                                      <p:cBhvr>
                                        <p:cTn id="134" dur="1000" fill="hold"/>
                                        <p:tgtEl>
                                          <p:spTgt spid="1074"/>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2100"/>
                                  </p:stCondLst>
                                  <p:childTnLst>
                                    <p:set>
                                      <p:cBhvr>
                                        <p:cTn id="136" dur="1" fill="hold">
                                          <p:stCondLst>
                                            <p:cond delay="0"/>
                                          </p:stCondLst>
                                        </p:cTn>
                                        <p:tgtEl>
                                          <p:spTgt spid="1050"/>
                                        </p:tgtEl>
                                        <p:attrNameLst>
                                          <p:attrName>style.visibility</p:attrName>
                                        </p:attrNameLst>
                                      </p:cBhvr>
                                      <p:to>
                                        <p:strVal val="visible"/>
                                      </p:to>
                                    </p:set>
                                    <p:animEffect transition="in" filter="fade">
                                      <p:cBhvr>
                                        <p:cTn id="137" dur="1000"/>
                                        <p:tgtEl>
                                          <p:spTgt spid="1050"/>
                                        </p:tgtEl>
                                      </p:cBhvr>
                                    </p:animEffect>
                                    <p:anim calcmode="lin" valueType="num">
                                      <p:cBhvr>
                                        <p:cTn id="138" dur="1000" fill="hold"/>
                                        <p:tgtEl>
                                          <p:spTgt spid="1050"/>
                                        </p:tgtEl>
                                        <p:attrNameLst>
                                          <p:attrName>ppt_x</p:attrName>
                                        </p:attrNameLst>
                                      </p:cBhvr>
                                      <p:tavLst>
                                        <p:tav tm="0">
                                          <p:val>
                                            <p:strVal val="#ppt_x"/>
                                          </p:val>
                                        </p:tav>
                                        <p:tav tm="100000">
                                          <p:val>
                                            <p:strVal val="#ppt_x"/>
                                          </p:val>
                                        </p:tav>
                                      </p:tavLst>
                                    </p:anim>
                                    <p:anim calcmode="lin" valueType="num">
                                      <p:cBhvr>
                                        <p:cTn id="139" dur="1000" fill="hold"/>
                                        <p:tgtEl>
                                          <p:spTgt spid="1050"/>
                                        </p:tgtEl>
                                        <p:attrNameLst>
                                          <p:attrName>ppt_y</p:attrName>
                                        </p:attrNameLst>
                                      </p:cBhvr>
                                      <p:tavLst>
                                        <p:tav tm="0">
                                          <p:val>
                                            <p:strVal val="#ppt_y+.1"/>
                                          </p:val>
                                        </p:tav>
                                        <p:tav tm="100000">
                                          <p:val>
                                            <p:strVal val="#ppt_y"/>
                                          </p:val>
                                        </p:tav>
                                      </p:tavLst>
                                    </p:anim>
                                  </p:childTnLst>
                                </p:cTn>
                              </p:par>
                              <p:par>
                                <p:cTn id="140" presetID="42" presetClass="entr" presetSubtype="0" fill="hold" nodeType="withEffect">
                                  <p:stCondLst>
                                    <p:cond delay="2200"/>
                                  </p:stCondLst>
                                  <p:childTnLst>
                                    <p:set>
                                      <p:cBhvr>
                                        <p:cTn id="141" dur="1" fill="hold">
                                          <p:stCondLst>
                                            <p:cond delay="0"/>
                                          </p:stCondLst>
                                        </p:cTn>
                                        <p:tgtEl>
                                          <p:spTgt spid="1076"/>
                                        </p:tgtEl>
                                        <p:attrNameLst>
                                          <p:attrName>style.visibility</p:attrName>
                                        </p:attrNameLst>
                                      </p:cBhvr>
                                      <p:to>
                                        <p:strVal val="visible"/>
                                      </p:to>
                                    </p:set>
                                    <p:animEffect transition="in" filter="fade">
                                      <p:cBhvr>
                                        <p:cTn id="142" dur="1000"/>
                                        <p:tgtEl>
                                          <p:spTgt spid="1076"/>
                                        </p:tgtEl>
                                      </p:cBhvr>
                                    </p:animEffect>
                                    <p:anim calcmode="lin" valueType="num">
                                      <p:cBhvr>
                                        <p:cTn id="143" dur="1000" fill="hold"/>
                                        <p:tgtEl>
                                          <p:spTgt spid="1076"/>
                                        </p:tgtEl>
                                        <p:attrNameLst>
                                          <p:attrName>ppt_x</p:attrName>
                                        </p:attrNameLst>
                                      </p:cBhvr>
                                      <p:tavLst>
                                        <p:tav tm="0">
                                          <p:val>
                                            <p:strVal val="#ppt_x"/>
                                          </p:val>
                                        </p:tav>
                                        <p:tav tm="100000">
                                          <p:val>
                                            <p:strVal val="#ppt_x"/>
                                          </p:val>
                                        </p:tav>
                                      </p:tavLst>
                                    </p:anim>
                                    <p:anim calcmode="lin" valueType="num">
                                      <p:cBhvr>
                                        <p:cTn id="144" dur="1000" fill="hold"/>
                                        <p:tgtEl>
                                          <p:spTgt spid="10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A195C-3077-AFF4-B35D-AFCC31DA2818}"/>
            </a:ext>
          </a:extLst>
        </p:cNvPr>
        <p:cNvGrpSpPr/>
        <p:nvPr/>
      </p:nvGrpSpPr>
      <p:grpSpPr>
        <a:xfrm>
          <a:off x="0" y="0"/>
          <a:ext cx="0" cy="0"/>
          <a:chOff x="0" y="0"/>
          <a:chExt cx="0" cy="0"/>
        </a:xfrm>
      </p:grpSpPr>
      <p:pic>
        <p:nvPicPr>
          <p:cNvPr id="6" name="Picture 5" descr="A close-up of a person wearing a white coat&#10;&#10;AI-generated content may be incorrect.">
            <a:extLst>
              <a:ext uri="{FF2B5EF4-FFF2-40B4-BE49-F238E27FC236}">
                <a16:creationId xmlns:a16="http://schemas.microsoft.com/office/drawing/2014/main" id="{B3CFFA85-A43E-60FC-D348-2A16513AD13E}"/>
              </a:ext>
            </a:extLst>
          </p:cNvPr>
          <p:cNvPicPr>
            <a:picLocks noChangeAspect="1"/>
          </p:cNvPicPr>
          <p:nvPr/>
        </p:nvPicPr>
        <p:blipFill>
          <a:blip r:embed="rId3"/>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D0304A69-6E50-F8DA-1FB0-A75767FFFB5C}"/>
              </a:ext>
            </a:extLst>
          </p:cNvPr>
          <p:cNvSpPr>
            <a:spLocks noGrp="1"/>
          </p:cNvSpPr>
          <p:nvPr>
            <p:ph type="body" sz="half" idx="2"/>
          </p:nvPr>
        </p:nvSpPr>
        <p:spPr>
          <a:xfrm>
            <a:off x="1439502" y="3822925"/>
            <a:ext cx="6180498" cy="1539477"/>
          </a:xfrm>
        </p:spPr>
        <p:txBody>
          <a:bodyPr/>
          <a:lstStyle/>
          <a:p>
            <a:pPr>
              <a:lnSpc>
                <a:spcPct val="100000"/>
              </a:lnSpc>
            </a:pPr>
            <a:r>
              <a:rPr lang="en-US" sz="1800"/>
              <a:t>With global expertise and local reach, Ellab delivers tailored </a:t>
            </a:r>
            <a:r>
              <a:rPr lang="en-US" sz="1800">
                <a:solidFill>
                  <a:schemeClr val="tx2"/>
                </a:solidFill>
              </a:rPr>
              <a:t>validation</a:t>
            </a:r>
            <a:r>
              <a:rPr lang="en-US" sz="1800"/>
              <a:t>, </a:t>
            </a:r>
            <a:r>
              <a:rPr lang="en-US" sz="1800">
                <a:solidFill>
                  <a:schemeClr val="tx2"/>
                </a:solidFill>
              </a:rPr>
              <a:t>monitoring</a:t>
            </a:r>
            <a:r>
              <a:rPr lang="en-US" sz="1800"/>
              <a:t>, and </a:t>
            </a:r>
            <a:r>
              <a:rPr lang="en-US" sz="1800">
                <a:solidFill>
                  <a:schemeClr val="tx2"/>
                </a:solidFill>
              </a:rPr>
              <a:t>calibration</a:t>
            </a:r>
            <a:r>
              <a:rPr lang="en-US" sz="1800"/>
              <a:t> solutions, consistently across your sites.</a:t>
            </a:r>
          </a:p>
        </p:txBody>
      </p:sp>
      <p:sp>
        <p:nvSpPr>
          <p:cNvPr id="7" name="TextBox 6">
            <a:extLst>
              <a:ext uri="{FF2B5EF4-FFF2-40B4-BE49-F238E27FC236}">
                <a16:creationId xmlns:a16="http://schemas.microsoft.com/office/drawing/2014/main" id="{D6C3AA65-EC7A-1D78-47C1-6F17F3915627}"/>
              </a:ext>
            </a:extLst>
          </p:cNvPr>
          <p:cNvSpPr txBox="1"/>
          <p:nvPr/>
        </p:nvSpPr>
        <p:spPr>
          <a:xfrm>
            <a:off x="1439502" y="1849324"/>
            <a:ext cx="6609030" cy="1523494"/>
          </a:xfrm>
          <a:prstGeom prst="rect">
            <a:avLst/>
          </a:prstGeom>
          <a:noFill/>
        </p:spPr>
        <p:txBody>
          <a:bodyPr wrap="square" rtlCol="0">
            <a:spAutoFit/>
          </a:bodyPr>
          <a:lstStyle/>
          <a:p>
            <a:r>
              <a:rPr lang="en-US" sz="3100" b="1">
                <a:solidFill>
                  <a:schemeClr val="tx2"/>
                </a:solidFill>
                <a:latin typeface="+mj-lt"/>
              </a:rPr>
              <a:t>Fewer vendors.</a:t>
            </a:r>
          </a:p>
          <a:p>
            <a:r>
              <a:rPr lang="en-US" sz="3100" b="1">
                <a:solidFill>
                  <a:schemeClr val="tx2"/>
                </a:solidFill>
                <a:latin typeface="+mj-lt"/>
              </a:rPr>
              <a:t>More production time.</a:t>
            </a:r>
          </a:p>
          <a:p>
            <a:r>
              <a:rPr lang="en-US" sz="3100" b="1">
                <a:solidFill>
                  <a:schemeClr val="accent1"/>
                </a:solidFill>
                <a:latin typeface="+mj-lt"/>
              </a:rPr>
              <a:t>One long-term partner</a:t>
            </a:r>
            <a:r>
              <a:rPr lang="en-US" sz="3100" b="1">
                <a:solidFill>
                  <a:schemeClr val="tx2"/>
                </a:solidFill>
                <a:latin typeface="+mj-lt"/>
              </a:rPr>
              <a:t>. </a:t>
            </a:r>
          </a:p>
        </p:txBody>
      </p:sp>
      <p:pic>
        <p:nvPicPr>
          <p:cNvPr id="9" name="Picture 8" descr="A blue and black stripe&#10;&#10;AI-generated content may be incorrect.">
            <a:extLst>
              <a:ext uri="{FF2B5EF4-FFF2-40B4-BE49-F238E27FC236}">
                <a16:creationId xmlns:a16="http://schemas.microsoft.com/office/drawing/2014/main" id="{F017B3D7-98C6-2836-5485-CDF41F4DDCB4}"/>
              </a:ext>
            </a:extLst>
          </p:cNvPr>
          <p:cNvPicPr>
            <a:picLocks noChangeAspect="1"/>
          </p:cNvPicPr>
          <p:nvPr/>
        </p:nvPicPr>
        <p:blipFill>
          <a:blip r:embed="rId4"/>
          <a:stretch>
            <a:fillRect/>
          </a:stretch>
        </p:blipFill>
        <p:spPr>
          <a:xfrm>
            <a:off x="8139811" y="3955723"/>
            <a:ext cx="2338578" cy="6858000"/>
          </a:xfrm>
          <a:prstGeom prst="rect">
            <a:avLst/>
          </a:prstGeom>
        </p:spPr>
      </p:pic>
      <p:sp>
        <p:nvSpPr>
          <p:cNvPr id="2" name="Tekstfelt 1">
            <a:extLst>
              <a:ext uri="{FF2B5EF4-FFF2-40B4-BE49-F238E27FC236}">
                <a16:creationId xmlns:a16="http://schemas.microsoft.com/office/drawing/2014/main" id="{BD5FF924-820F-CFAD-ABD1-C29DEDF5DC89}"/>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2</a:t>
            </a:fld>
            <a:endParaRPr lang="da-DK" sz="1400">
              <a:solidFill>
                <a:schemeClr val="bg2"/>
              </a:solidFill>
              <a:latin typeface="+mn-lt"/>
            </a:endParaRPr>
          </a:p>
        </p:txBody>
      </p:sp>
    </p:spTree>
    <p:extLst>
      <p:ext uri="{BB962C8B-B14F-4D97-AF65-F5344CB8AC3E}">
        <p14:creationId xmlns:p14="http://schemas.microsoft.com/office/powerpoint/2010/main" val="4044116286"/>
      </p:ext>
    </p:extLst>
  </p:cSld>
  <p:clrMapOvr>
    <a:masterClrMapping/>
  </p:clrMapOvr>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building with glass walls and a black background&#10;&#10;AI-generated content may be incorrect.">
            <a:extLst>
              <a:ext uri="{FF2B5EF4-FFF2-40B4-BE49-F238E27FC236}">
                <a16:creationId xmlns:a16="http://schemas.microsoft.com/office/drawing/2014/main" id="{613292CE-69CC-F885-420C-8BA0A8ACABC0}"/>
              </a:ext>
            </a:extLst>
          </p:cNvPr>
          <p:cNvPicPr>
            <a:picLocks noChangeAspect="1"/>
          </p:cNvPicPr>
          <p:nvPr/>
        </p:nvPicPr>
        <p:blipFill>
          <a:blip r:embed="rId4"/>
          <a:stretch>
            <a:fillRect/>
          </a:stretch>
        </p:blipFill>
        <p:spPr>
          <a:xfrm>
            <a:off x="719818" y="-555171"/>
            <a:ext cx="13178971" cy="7413171"/>
          </a:xfrm>
          <a:prstGeom prst="rect">
            <a:avLst/>
          </a:prstGeom>
        </p:spPr>
      </p:pic>
      <p:graphicFrame>
        <p:nvGraphicFramePr>
          <p:cNvPr id="56" name="Object 55" hidden="1">
            <a:extLst>
              <a:ext uri="{FF2B5EF4-FFF2-40B4-BE49-F238E27FC236}">
                <a16:creationId xmlns:a16="http://schemas.microsoft.com/office/drawing/2014/main" id="{8C7576DB-0BBA-4EAA-8075-999A42B0C278}"/>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6" name="Object 55" hidden="1">
                        <a:extLst>
                          <a:ext uri="{FF2B5EF4-FFF2-40B4-BE49-F238E27FC236}">
                            <a16:creationId xmlns:a16="http://schemas.microsoft.com/office/drawing/2014/main" id="{8C7576DB-0BBA-4EAA-8075-999A42B0C278}"/>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299956D-34B3-DFCF-6895-C38897445CFD}"/>
              </a:ext>
            </a:extLst>
          </p:cNvPr>
          <p:cNvSpPr>
            <a:spLocks noGrp="1"/>
          </p:cNvSpPr>
          <p:nvPr>
            <p:ph type="body" sz="half" idx="2"/>
          </p:nvPr>
        </p:nvSpPr>
        <p:spPr/>
        <p:txBody>
          <a:bodyPr/>
          <a:lstStyle/>
          <a:p>
            <a:r>
              <a:rPr lang="en-GB"/>
              <a:t>We are supported by </a:t>
            </a:r>
            <a:r>
              <a:rPr lang="en-GB" b="1"/>
              <a:t>Novo Holdings</a:t>
            </a:r>
            <a:r>
              <a:rPr lang="en-GB"/>
              <a:t> and </a:t>
            </a:r>
            <a:r>
              <a:rPr lang="en-GB" b="1"/>
              <a:t>Lundbeckfonden</a:t>
            </a:r>
            <a:r>
              <a:rPr lang="en-GB"/>
              <a:t> – two of the most respected life science investors in the world.</a:t>
            </a:r>
            <a:endParaRPr lang="en-US"/>
          </a:p>
        </p:txBody>
      </p:sp>
      <p:sp>
        <p:nvSpPr>
          <p:cNvPr id="3" name="Title 2">
            <a:extLst>
              <a:ext uri="{FF2B5EF4-FFF2-40B4-BE49-F238E27FC236}">
                <a16:creationId xmlns:a16="http://schemas.microsoft.com/office/drawing/2014/main" id="{4FA1D20D-E277-4860-97D1-C4B25B6FB73F}"/>
              </a:ext>
            </a:extLst>
          </p:cNvPr>
          <p:cNvSpPr>
            <a:spLocks noGrp="1"/>
          </p:cNvSpPr>
          <p:nvPr>
            <p:ph type="title"/>
          </p:nvPr>
        </p:nvSpPr>
        <p:spPr/>
        <p:txBody>
          <a:bodyPr vert="horz"/>
          <a:lstStyle/>
          <a:p>
            <a:r>
              <a:rPr lang="en-US"/>
              <a:t>Who Supports Our Journey?</a:t>
            </a:r>
          </a:p>
        </p:txBody>
      </p:sp>
      <p:sp>
        <p:nvSpPr>
          <p:cNvPr id="6" name="Rectangle 5">
            <a:extLst>
              <a:ext uri="{FF2B5EF4-FFF2-40B4-BE49-F238E27FC236}">
                <a16:creationId xmlns:a16="http://schemas.microsoft.com/office/drawing/2014/main" id="{C21E6A85-DA6B-44FB-ACEF-4E8DE227B25F}"/>
              </a:ext>
            </a:extLst>
          </p:cNvPr>
          <p:cNvSpPr/>
          <p:nvPr/>
        </p:nvSpPr>
        <p:spPr>
          <a:xfrm>
            <a:off x="1342003" y="1696671"/>
            <a:ext cx="6708083" cy="417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t"/>
          <a:lstStyle/>
          <a:p>
            <a:pPr defTabSz="548640">
              <a:defRPr/>
            </a:pPr>
            <a:endParaRPr lang="en-US" sz="1440">
              <a:solidFill>
                <a:srgbClr val="F5F5F5">
                  <a:lumMod val="50000"/>
                </a:srgbClr>
              </a:solidFill>
              <a:latin typeface="Ellab Sans" panose="02000503000000020004" pitchFamily="2" charset="0"/>
            </a:endParaRPr>
          </a:p>
        </p:txBody>
      </p:sp>
      <p:pic>
        <p:nvPicPr>
          <p:cNvPr id="1028" name="Picture 4" descr="Novo Holdings - Wikipedia, den frie encyklopædi">
            <a:extLst>
              <a:ext uri="{FF2B5EF4-FFF2-40B4-BE49-F238E27FC236}">
                <a16:creationId xmlns:a16="http://schemas.microsoft.com/office/drawing/2014/main" id="{D0F9077F-3169-FD8C-A4F5-C86153FCE9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52658" y="2416671"/>
            <a:ext cx="4589870" cy="221046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21744FB-9546-B179-C98B-2BDCE84DF023}"/>
              </a:ext>
            </a:extLst>
          </p:cNvPr>
          <p:cNvSpPr txBox="1"/>
          <p:nvPr/>
        </p:nvSpPr>
        <p:spPr>
          <a:xfrm>
            <a:off x="360000" y="2416671"/>
            <a:ext cx="4467639" cy="3775393"/>
          </a:xfrm>
          <a:prstGeom prst="rect">
            <a:avLst/>
          </a:prstGeom>
          <a:noFill/>
        </p:spPr>
        <p:txBody>
          <a:bodyPr wrap="square" rtlCol="0">
            <a:spAutoFit/>
          </a:bodyPr>
          <a:lstStyle/>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dirty="0">
                <a:solidFill>
                  <a:schemeClr val="tx2"/>
                </a:solidFill>
                <a:latin typeface="+mj-lt"/>
              </a:rPr>
              <a:t>Long-term investment strategies </a:t>
            </a:r>
            <a:r>
              <a:rPr lang="en-GB" sz="1600" dirty="0">
                <a:solidFill>
                  <a:schemeClr val="tx2"/>
                </a:solidFill>
                <a:latin typeface="+mj-lt"/>
              </a:rPr>
              <a:t>enable sustainable growth and innovation</a:t>
            </a:r>
            <a:br>
              <a:rPr lang="en-GB" sz="1600" dirty="0">
                <a:solidFill>
                  <a:schemeClr val="tx2"/>
                </a:solidFill>
                <a:latin typeface="+mj-lt"/>
              </a:rPr>
            </a:br>
            <a:endParaRPr lang="en-GB" sz="1600" dirty="0">
              <a:solidFill>
                <a:schemeClr val="tx2"/>
              </a:solidFill>
              <a:latin typeface="+mj-lt"/>
            </a:endParaRP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dirty="0">
                <a:solidFill>
                  <a:schemeClr val="tx2"/>
                </a:solidFill>
                <a:latin typeface="+mj-lt"/>
              </a:rPr>
              <a:t>Strong alignment </a:t>
            </a:r>
            <a:r>
              <a:rPr lang="en-GB" sz="1600" dirty="0">
                <a:solidFill>
                  <a:schemeClr val="tx2"/>
                </a:solidFill>
                <a:latin typeface="+mj-lt"/>
              </a:rPr>
              <a:t>with Ellab’s mission and vision</a:t>
            </a:r>
            <a:br>
              <a:rPr lang="en-GB" sz="1600" dirty="0">
                <a:solidFill>
                  <a:schemeClr val="tx2"/>
                </a:solidFill>
                <a:latin typeface="+mj-lt"/>
              </a:rPr>
            </a:br>
            <a:endParaRPr lang="en-GB" sz="1600" dirty="0">
              <a:solidFill>
                <a:schemeClr val="tx2"/>
              </a:solidFill>
              <a:latin typeface="+mj-lt"/>
            </a:endParaRP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dirty="0">
                <a:solidFill>
                  <a:schemeClr val="tx2"/>
                </a:solidFill>
                <a:latin typeface="+mj-lt"/>
              </a:rPr>
              <a:t>Deep industry expertise and global reach</a:t>
            </a:r>
            <a:r>
              <a:rPr lang="en-GB" sz="1600" dirty="0">
                <a:solidFill>
                  <a:schemeClr val="tx2"/>
                </a:solidFill>
                <a:latin typeface="+mj-lt"/>
              </a:rPr>
              <a:t> to support us worldwide</a:t>
            </a:r>
            <a:br>
              <a:rPr lang="en-GB" sz="1600" dirty="0">
                <a:solidFill>
                  <a:schemeClr val="tx2"/>
                </a:solidFill>
                <a:latin typeface="+mj-lt"/>
              </a:rPr>
            </a:br>
            <a:endParaRPr lang="en-GB" sz="1600" dirty="0">
              <a:solidFill>
                <a:schemeClr val="tx2"/>
              </a:solidFill>
              <a:latin typeface="+mj-lt"/>
            </a:endParaRP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dirty="0">
                <a:solidFill>
                  <a:schemeClr val="tx2"/>
                </a:solidFill>
                <a:latin typeface="+mj-lt"/>
              </a:rPr>
              <a:t>Trusted names </a:t>
            </a:r>
            <a:r>
              <a:rPr lang="en-GB" sz="1600" dirty="0">
                <a:solidFill>
                  <a:schemeClr val="tx2"/>
                </a:solidFill>
                <a:latin typeface="+mj-lt"/>
              </a:rPr>
              <a:t>in pharma and life sciences enhance credibility and recognition</a:t>
            </a:r>
            <a:br>
              <a:rPr lang="en-GB" sz="1600" dirty="0">
                <a:solidFill>
                  <a:schemeClr val="tx2"/>
                </a:solidFill>
                <a:latin typeface="+mj-lt"/>
              </a:rPr>
            </a:br>
            <a:endParaRPr lang="en-GB" sz="1600" dirty="0">
              <a:solidFill>
                <a:schemeClr val="tx2"/>
              </a:solidFill>
              <a:latin typeface="+mj-lt"/>
            </a:endParaRP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dirty="0">
                <a:solidFill>
                  <a:schemeClr val="tx2"/>
                </a:solidFill>
                <a:latin typeface="+mj-lt"/>
              </a:rPr>
              <a:t>Pride in ownership </a:t>
            </a:r>
            <a:r>
              <a:rPr lang="en-GB" sz="1600" dirty="0">
                <a:solidFill>
                  <a:schemeClr val="tx2"/>
                </a:solidFill>
                <a:latin typeface="+mj-lt"/>
              </a:rPr>
              <a:t>thanks to their philanthropic reinvestment of returns</a:t>
            </a:r>
          </a:p>
        </p:txBody>
      </p:sp>
      <p:sp>
        <p:nvSpPr>
          <p:cNvPr id="4" name="Tekstfelt 1">
            <a:extLst>
              <a:ext uri="{FF2B5EF4-FFF2-40B4-BE49-F238E27FC236}">
                <a16:creationId xmlns:a16="http://schemas.microsoft.com/office/drawing/2014/main" id="{0A51195F-9A06-059A-66DA-86872478BD55}"/>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1"/>
                </a:solidFill>
                <a:latin typeface="+mn-lt"/>
              </a:rPr>
              <a:pPr algn="r">
                <a:lnSpc>
                  <a:spcPts val="1600"/>
                </a:lnSpc>
              </a:pPr>
              <a:t>20</a:t>
            </a:fld>
            <a:endParaRPr lang="da-DK" sz="1400">
              <a:solidFill>
                <a:schemeClr val="bg1"/>
              </a:solidFill>
              <a:latin typeface="+mn-lt"/>
            </a:endParaRPr>
          </a:p>
        </p:txBody>
      </p:sp>
      <p:pic>
        <p:nvPicPr>
          <p:cNvPr id="8" name="Graphic 7">
            <a:extLst>
              <a:ext uri="{FF2B5EF4-FFF2-40B4-BE49-F238E27FC236}">
                <a16:creationId xmlns:a16="http://schemas.microsoft.com/office/drawing/2014/main" id="{2D6EE84B-3575-9111-BABD-1E3D51B060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52658" y="4582506"/>
            <a:ext cx="4167521" cy="1157645"/>
          </a:xfrm>
          <a:prstGeom prst="rect">
            <a:avLst/>
          </a:prstGeom>
          <a:effectLst>
            <a:outerShdw blurRad="508000" dist="38100" dir="2700000" algn="tl" rotWithShape="0">
              <a:schemeClr val="tx2">
                <a:alpha val="40000"/>
              </a:schemeClr>
            </a:outerShdw>
          </a:effectLst>
        </p:spPr>
      </p:pic>
    </p:spTree>
    <p:extLst>
      <p:ext uri="{BB962C8B-B14F-4D97-AF65-F5344CB8AC3E}">
        <p14:creationId xmlns:p14="http://schemas.microsoft.com/office/powerpoint/2010/main" val="233586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F194A696-6898-FB78-E25C-3289776F8DC5}"/>
            </a:ext>
          </a:extLst>
        </p:cNvPr>
        <p:cNvGrpSpPr/>
        <p:nvPr/>
      </p:nvGrpSpPr>
      <p:grpSpPr>
        <a:xfrm>
          <a:off x="0" y="0"/>
          <a:ext cx="0" cy="0"/>
          <a:chOff x="0" y="0"/>
          <a:chExt cx="0" cy="0"/>
        </a:xfrm>
      </p:grpSpPr>
      <p:pic>
        <p:nvPicPr>
          <p:cNvPr id="9" name="Picture 8" descr="A close-up of a white background&#10;&#10;AI-generated content may be incorrect.">
            <a:extLst>
              <a:ext uri="{FF2B5EF4-FFF2-40B4-BE49-F238E27FC236}">
                <a16:creationId xmlns:a16="http://schemas.microsoft.com/office/drawing/2014/main" id="{0E98DB36-21F2-516A-3D02-6E60C2D0BFE0}"/>
              </a:ext>
            </a:extLst>
          </p:cNvPr>
          <p:cNvPicPr>
            <a:picLocks noChangeAspect="1"/>
          </p:cNvPicPr>
          <p:nvPr/>
        </p:nvPicPr>
        <p:blipFill>
          <a:blip r:embed="rId3"/>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2BD166DB-713D-D888-ECDB-DC0213158261}"/>
              </a:ext>
            </a:extLst>
          </p:cNvPr>
          <p:cNvSpPr>
            <a:spLocks noGrp="1"/>
          </p:cNvSpPr>
          <p:nvPr>
            <p:ph type="title"/>
          </p:nvPr>
        </p:nvSpPr>
        <p:spPr>
          <a:xfrm>
            <a:off x="371475" y="553443"/>
            <a:ext cx="6464040" cy="365125"/>
          </a:xfrm>
        </p:spPr>
        <p:txBody>
          <a:bodyPr/>
          <a:lstStyle/>
          <a:p>
            <a:r>
              <a:rPr lang="en-GB"/>
              <a:t>Adding Value to the </a:t>
            </a:r>
            <a:br>
              <a:rPr lang="en-GB"/>
            </a:br>
            <a:r>
              <a:rPr lang="en-GB">
                <a:solidFill>
                  <a:schemeClr val="accent1"/>
                </a:solidFill>
              </a:rPr>
              <a:t>Life Science Industry</a:t>
            </a:r>
            <a:endParaRPr lang="en-US">
              <a:solidFill>
                <a:schemeClr val="accent1"/>
              </a:solidFill>
            </a:endParaRPr>
          </a:p>
        </p:txBody>
      </p:sp>
      <p:pic>
        <p:nvPicPr>
          <p:cNvPr id="6" name="Picture 5" descr="A blue and black stripe&#10;&#10;AI-generated content may be incorrect.">
            <a:extLst>
              <a:ext uri="{FF2B5EF4-FFF2-40B4-BE49-F238E27FC236}">
                <a16:creationId xmlns:a16="http://schemas.microsoft.com/office/drawing/2014/main" id="{BC52BB9B-E84B-7F6B-DD14-24C81B01D822}"/>
              </a:ext>
            </a:extLst>
          </p:cNvPr>
          <p:cNvPicPr>
            <a:picLocks noChangeAspect="1"/>
          </p:cNvPicPr>
          <p:nvPr/>
        </p:nvPicPr>
        <p:blipFill>
          <a:blip r:embed="rId4"/>
          <a:stretch>
            <a:fillRect/>
          </a:stretch>
        </p:blipFill>
        <p:spPr>
          <a:xfrm>
            <a:off x="8139811" y="-3669469"/>
            <a:ext cx="2338578" cy="6858000"/>
          </a:xfrm>
          <a:prstGeom prst="rect">
            <a:avLst/>
          </a:prstGeom>
        </p:spPr>
      </p:pic>
      <p:sp>
        <p:nvSpPr>
          <p:cNvPr id="5" name="Tekstfelt 1">
            <a:extLst>
              <a:ext uri="{FF2B5EF4-FFF2-40B4-BE49-F238E27FC236}">
                <a16:creationId xmlns:a16="http://schemas.microsoft.com/office/drawing/2014/main" id="{C7394FD0-8289-CD33-FEB5-3279AE9CFDC7}"/>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3</a:t>
            </a:fld>
            <a:endParaRPr lang="da-DK" sz="1400">
              <a:solidFill>
                <a:schemeClr val="accent1"/>
              </a:solidFill>
              <a:latin typeface="+mn-lt"/>
            </a:endParaRPr>
          </a:p>
        </p:txBody>
      </p:sp>
      <p:graphicFrame>
        <p:nvGraphicFramePr>
          <p:cNvPr id="7" name="Diagram 6">
            <a:extLst>
              <a:ext uri="{FF2B5EF4-FFF2-40B4-BE49-F238E27FC236}">
                <a16:creationId xmlns:a16="http://schemas.microsoft.com/office/drawing/2014/main" id="{E0CF2557-5FFA-FDC8-BD82-EAB4E0ACFDDA}"/>
              </a:ext>
            </a:extLst>
          </p:cNvPr>
          <p:cNvGraphicFramePr/>
          <p:nvPr>
            <p:extLst>
              <p:ext uri="{D42A27DB-BD31-4B8C-83A1-F6EECF244321}">
                <p14:modId xmlns:p14="http://schemas.microsoft.com/office/powerpoint/2010/main" val="4192704737"/>
              </p:ext>
            </p:extLst>
          </p:nvPr>
        </p:nvGraphicFramePr>
        <p:xfrm>
          <a:off x="365738" y="2439259"/>
          <a:ext cx="11460524" cy="41098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 Placeholder 1">
            <a:extLst>
              <a:ext uri="{FF2B5EF4-FFF2-40B4-BE49-F238E27FC236}">
                <a16:creationId xmlns:a16="http://schemas.microsoft.com/office/drawing/2014/main" id="{E45FCE7B-A9DF-9825-C913-5E061130CFB5}"/>
              </a:ext>
            </a:extLst>
          </p:cNvPr>
          <p:cNvSpPr txBox="1">
            <a:spLocks/>
          </p:cNvSpPr>
          <p:nvPr/>
        </p:nvSpPr>
        <p:spPr bwMode="auto">
          <a:xfrm>
            <a:off x="371476" y="1713483"/>
            <a:ext cx="646404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lvl="0"/>
            <a:r>
              <a:rPr lang="en-GB">
                <a:solidFill>
                  <a:schemeClr val="tx2"/>
                </a:solidFill>
              </a:rPr>
              <a:t>F</a:t>
            </a:r>
            <a:r>
              <a:rPr lang="en-GB" sz="1600">
                <a:solidFill>
                  <a:schemeClr val="tx2"/>
                </a:solidFill>
              </a:rPr>
              <a:t>rom projects to daily operations</a:t>
            </a:r>
            <a:endParaRPr lang="da-DK">
              <a:solidFill>
                <a:schemeClr val="tx2"/>
              </a:solidFill>
            </a:endParaRPr>
          </a:p>
        </p:txBody>
      </p:sp>
      <p:pic>
        <p:nvPicPr>
          <p:cNvPr id="8" name="Graphic 7" descr="Alarm clock with solid fill">
            <a:extLst>
              <a:ext uri="{FF2B5EF4-FFF2-40B4-BE49-F238E27FC236}">
                <a16:creationId xmlns:a16="http://schemas.microsoft.com/office/drawing/2014/main" id="{47BC7DCF-CF5B-0E31-084F-07E9D4C8CC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52252" y="2113572"/>
            <a:ext cx="914400" cy="914400"/>
          </a:xfrm>
          <a:prstGeom prst="rect">
            <a:avLst/>
          </a:prstGeom>
        </p:spPr>
      </p:pic>
      <p:pic>
        <p:nvPicPr>
          <p:cNvPr id="11" name="Graphic 10" descr="Clipboard Checked with solid fill">
            <a:extLst>
              <a:ext uri="{FF2B5EF4-FFF2-40B4-BE49-F238E27FC236}">
                <a16:creationId xmlns:a16="http://schemas.microsoft.com/office/drawing/2014/main" id="{D2BB2A12-0561-10B8-8A27-E84E1C1291D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27577" y="2099637"/>
            <a:ext cx="914400" cy="914400"/>
          </a:xfrm>
          <a:prstGeom prst="rect">
            <a:avLst/>
          </a:prstGeom>
        </p:spPr>
      </p:pic>
      <p:pic>
        <p:nvPicPr>
          <p:cNvPr id="13" name="Graphic 12" descr="Connections with solid fill">
            <a:extLst>
              <a:ext uri="{FF2B5EF4-FFF2-40B4-BE49-F238E27FC236}">
                <a16:creationId xmlns:a16="http://schemas.microsoft.com/office/drawing/2014/main" id="{7978C295-97F8-84BC-DDE4-BD28A02777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1189" y="2170683"/>
            <a:ext cx="914400" cy="914400"/>
          </a:xfrm>
          <a:prstGeom prst="rect">
            <a:avLst/>
          </a:prstGeom>
        </p:spPr>
      </p:pic>
      <p:pic>
        <p:nvPicPr>
          <p:cNvPr id="17" name="Graphic 16" descr="Puzzle pieces with solid fill">
            <a:extLst>
              <a:ext uri="{FF2B5EF4-FFF2-40B4-BE49-F238E27FC236}">
                <a16:creationId xmlns:a16="http://schemas.microsoft.com/office/drawing/2014/main" id="{462B9D9A-8B61-B517-E954-23CB27CD4C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56411" y="2113572"/>
            <a:ext cx="914400" cy="914400"/>
          </a:xfrm>
          <a:prstGeom prst="rect">
            <a:avLst/>
          </a:prstGeom>
        </p:spPr>
      </p:pic>
    </p:spTree>
    <p:extLst>
      <p:ext uri="{BB962C8B-B14F-4D97-AF65-F5344CB8AC3E}">
        <p14:creationId xmlns:p14="http://schemas.microsoft.com/office/powerpoint/2010/main" val="2646260899"/>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accel="100000" fill="hold" nodeType="withEffect">
                                  <p:stCondLst>
                                    <p:cond delay="0"/>
                                  </p:stCondLst>
                                  <p:childTnLst>
                                    <p:anim calcmode="lin" valueType="num">
                                      <p:cBhvr additive="base">
                                        <p:cTn id="6" dur="1000"/>
                                        <p:tgtEl>
                                          <p:spTgt spid="6"/>
                                        </p:tgtEl>
                                        <p:attrNameLst>
                                          <p:attrName>ppt_x</p:attrName>
                                        </p:attrNameLst>
                                      </p:cBhvr>
                                      <p:tavLst>
                                        <p:tav tm="0">
                                          <p:val>
                                            <p:strVal val="ppt_x"/>
                                          </p:val>
                                        </p:tav>
                                        <p:tav tm="100000">
                                          <p:val>
                                            <p:strVal val="ppt_x"/>
                                          </p:val>
                                        </p:tav>
                                      </p:tavLst>
                                    </p:anim>
                                    <p:anim calcmode="lin" valueType="num">
                                      <p:cBhvr additive="base">
                                        <p:cTn id="7" dur="1000"/>
                                        <p:tgtEl>
                                          <p:spTgt spid="6"/>
                                        </p:tgtEl>
                                        <p:attrNameLst>
                                          <p:attrName>ppt_y</p:attrName>
                                        </p:attrNameLst>
                                      </p:cBhvr>
                                      <p:tavLst>
                                        <p:tav tm="0">
                                          <p:val>
                                            <p:strVal val="ppt_y"/>
                                          </p:val>
                                        </p:tav>
                                        <p:tav tm="100000">
                                          <p:val>
                                            <p:strVal val="0-ppt_h/2"/>
                                          </p:val>
                                        </p:tav>
                                      </p:tavLst>
                                    </p:anim>
                                    <p:set>
                                      <p:cBhvr>
                                        <p:cTn id="8" dur="1" fill="hold">
                                          <p:stCondLst>
                                            <p:cond delay="999"/>
                                          </p:stCondLst>
                                        </p:cTn>
                                        <p:tgtEl>
                                          <p:spTgt spid="6"/>
                                        </p:tgtEl>
                                        <p:attrNameLst>
                                          <p:attrName>style.visibility</p:attrName>
                                        </p:attrNameLst>
                                      </p:cBhvr>
                                      <p:to>
                                        <p:strVal val="hidden"/>
                                      </p:to>
                                    </p:set>
                                  </p:childTnLst>
                                </p:cTn>
                              </p:par>
                              <p:par>
                                <p:cTn id="9" presetID="2" presetClass="entr" presetSubtype="4" decel="100000" fill="hold" grpId="0" nodeType="withEffect">
                                  <p:stCondLst>
                                    <p:cond delay="0"/>
                                  </p:stCondLst>
                                  <p:childTnLst>
                                    <p:set>
                                      <p:cBhvr>
                                        <p:cTn id="10" dur="1" fill="hold">
                                          <p:stCondLst>
                                            <p:cond delay="0"/>
                                          </p:stCondLst>
                                        </p:cTn>
                                        <p:tgtEl>
                                          <p:spTgt spid="7">
                                            <p:graphicEl>
                                              <a:dgm id="{AD8A3925-B70D-4A94-BA4D-AEF63532FEDB}"/>
                                            </p:graphicEl>
                                          </p:spTgt>
                                        </p:tgtEl>
                                        <p:attrNameLst>
                                          <p:attrName>style.visibility</p:attrName>
                                        </p:attrNameLst>
                                      </p:cBhvr>
                                      <p:to>
                                        <p:strVal val="visible"/>
                                      </p:to>
                                    </p:set>
                                    <p:anim calcmode="lin" valueType="num">
                                      <p:cBhvr additive="base">
                                        <p:cTn id="11" dur="1000" fill="hold"/>
                                        <p:tgtEl>
                                          <p:spTgt spid="7">
                                            <p:graphicEl>
                                              <a:dgm id="{AD8A3925-B70D-4A94-BA4D-AEF63532FEDB}"/>
                                            </p:graphicEl>
                                          </p:spTgt>
                                        </p:tgtEl>
                                        <p:attrNameLst>
                                          <p:attrName>ppt_x</p:attrName>
                                        </p:attrNameLst>
                                      </p:cBhvr>
                                      <p:tavLst>
                                        <p:tav tm="0">
                                          <p:val>
                                            <p:strVal val="#ppt_x"/>
                                          </p:val>
                                        </p:tav>
                                        <p:tav tm="100000">
                                          <p:val>
                                            <p:strVal val="#ppt_x"/>
                                          </p:val>
                                        </p:tav>
                                      </p:tavLst>
                                    </p:anim>
                                    <p:anim calcmode="lin" valueType="num">
                                      <p:cBhvr additive="base">
                                        <p:cTn id="12" dur="1000" fill="hold"/>
                                        <p:tgtEl>
                                          <p:spTgt spid="7">
                                            <p:graphicEl>
                                              <a:dgm id="{AD8A3925-B70D-4A94-BA4D-AEF63532FEDB}"/>
                                            </p:graphic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7">
                                            <p:graphicEl>
                                              <a:dgm id="{A858D402-3475-46C4-85FF-0FC66905C818}"/>
                                            </p:graphicEl>
                                          </p:spTgt>
                                        </p:tgtEl>
                                        <p:attrNameLst>
                                          <p:attrName>style.visibility</p:attrName>
                                        </p:attrNameLst>
                                      </p:cBhvr>
                                      <p:to>
                                        <p:strVal val="visible"/>
                                      </p:to>
                                    </p:set>
                                    <p:anim calcmode="lin" valueType="num">
                                      <p:cBhvr additive="base">
                                        <p:cTn id="15" dur="1000" fill="hold"/>
                                        <p:tgtEl>
                                          <p:spTgt spid="7">
                                            <p:graphicEl>
                                              <a:dgm id="{A858D402-3475-46C4-85FF-0FC66905C818}"/>
                                            </p:graphicEl>
                                          </p:spTgt>
                                        </p:tgtEl>
                                        <p:attrNameLst>
                                          <p:attrName>ppt_x</p:attrName>
                                        </p:attrNameLst>
                                      </p:cBhvr>
                                      <p:tavLst>
                                        <p:tav tm="0">
                                          <p:val>
                                            <p:strVal val="#ppt_x"/>
                                          </p:val>
                                        </p:tav>
                                        <p:tav tm="100000">
                                          <p:val>
                                            <p:strVal val="#ppt_x"/>
                                          </p:val>
                                        </p:tav>
                                      </p:tavLst>
                                    </p:anim>
                                    <p:anim calcmode="lin" valueType="num">
                                      <p:cBhvr additive="base">
                                        <p:cTn id="16" dur="1000" fill="hold"/>
                                        <p:tgtEl>
                                          <p:spTgt spid="7">
                                            <p:graphicEl>
                                              <a:dgm id="{A858D402-3475-46C4-85FF-0FC66905C818}"/>
                                            </p:graphic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7">
                                            <p:graphicEl>
                                              <a:dgm id="{E0F6273A-F22F-43E1-8679-6B4DE49FB4C5}"/>
                                            </p:graphicEl>
                                          </p:spTgt>
                                        </p:tgtEl>
                                        <p:attrNameLst>
                                          <p:attrName>style.visibility</p:attrName>
                                        </p:attrNameLst>
                                      </p:cBhvr>
                                      <p:to>
                                        <p:strVal val="visible"/>
                                      </p:to>
                                    </p:set>
                                    <p:anim calcmode="lin" valueType="num">
                                      <p:cBhvr additive="base">
                                        <p:cTn id="19" dur="1000" fill="hold"/>
                                        <p:tgtEl>
                                          <p:spTgt spid="7">
                                            <p:graphicEl>
                                              <a:dgm id="{E0F6273A-F22F-43E1-8679-6B4DE49FB4C5}"/>
                                            </p:graphicEl>
                                          </p:spTgt>
                                        </p:tgtEl>
                                        <p:attrNameLst>
                                          <p:attrName>ppt_x</p:attrName>
                                        </p:attrNameLst>
                                      </p:cBhvr>
                                      <p:tavLst>
                                        <p:tav tm="0">
                                          <p:val>
                                            <p:strVal val="#ppt_x"/>
                                          </p:val>
                                        </p:tav>
                                        <p:tav tm="100000">
                                          <p:val>
                                            <p:strVal val="#ppt_x"/>
                                          </p:val>
                                        </p:tav>
                                      </p:tavLst>
                                    </p:anim>
                                    <p:anim calcmode="lin" valueType="num">
                                      <p:cBhvr additive="base">
                                        <p:cTn id="20" dur="1000" fill="hold"/>
                                        <p:tgtEl>
                                          <p:spTgt spid="7">
                                            <p:graphicEl>
                                              <a:dgm id="{E0F6273A-F22F-43E1-8679-6B4DE49FB4C5}"/>
                                            </p:graphic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7">
                                            <p:graphicEl>
                                              <a:dgm id="{9E940290-E515-4680-9BF4-3A26C99A73F7}"/>
                                            </p:graphicEl>
                                          </p:spTgt>
                                        </p:tgtEl>
                                        <p:attrNameLst>
                                          <p:attrName>style.visibility</p:attrName>
                                        </p:attrNameLst>
                                      </p:cBhvr>
                                      <p:to>
                                        <p:strVal val="visible"/>
                                      </p:to>
                                    </p:set>
                                    <p:anim calcmode="lin" valueType="num">
                                      <p:cBhvr additive="base">
                                        <p:cTn id="23" dur="1000" fill="hold"/>
                                        <p:tgtEl>
                                          <p:spTgt spid="7">
                                            <p:graphicEl>
                                              <a:dgm id="{9E940290-E515-4680-9BF4-3A26C99A73F7}"/>
                                            </p:graphicEl>
                                          </p:spTgt>
                                        </p:tgtEl>
                                        <p:attrNameLst>
                                          <p:attrName>ppt_x</p:attrName>
                                        </p:attrNameLst>
                                      </p:cBhvr>
                                      <p:tavLst>
                                        <p:tav tm="0">
                                          <p:val>
                                            <p:strVal val="#ppt_x"/>
                                          </p:val>
                                        </p:tav>
                                        <p:tav tm="100000">
                                          <p:val>
                                            <p:strVal val="#ppt_x"/>
                                          </p:val>
                                        </p:tav>
                                      </p:tavLst>
                                    </p:anim>
                                    <p:anim calcmode="lin" valueType="num">
                                      <p:cBhvr additive="base">
                                        <p:cTn id="24" dur="1000" fill="hold"/>
                                        <p:tgtEl>
                                          <p:spTgt spid="7">
                                            <p:graphicEl>
                                              <a:dgm id="{9E940290-E515-4680-9BF4-3A26C99A73F7}"/>
                                            </p:graphic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1000" fill="hold"/>
                                        <p:tgtEl>
                                          <p:spTgt spid="17"/>
                                        </p:tgtEl>
                                        <p:attrNameLst>
                                          <p:attrName>ppt_x</p:attrName>
                                        </p:attrNameLst>
                                      </p:cBhvr>
                                      <p:tavLst>
                                        <p:tav tm="0">
                                          <p:val>
                                            <p:strVal val="#ppt_x"/>
                                          </p:val>
                                        </p:tav>
                                        <p:tav tm="100000">
                                          <p:val>
                                            <p:strVal val="#ppt_x"/>
                                          </p:val>
                                        </p:tav>
                                      </p:tavLst>
                                    </p:anim>
                                    <p:anim calcmode="lin" valueType="num">
                                      <p:cBhvr additive="base">
                                        <p:cTn id="28" dur="1000" fill="hold"/>
                                        <p:tgtEl>
                                          <p:spTgt spid="17"/>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10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20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1000" fill="hold"/>
                                        <p:tgtEl>
                                          <p:spTgt spid="8"/>
                                        </p:tgtEl>
                                        <p:attrNameLst>
                                          <p:attrName>ppt_x</p:attrName>
                                        </p:attrNameLst>
                                      </p:cBhvr>
                                      <p:tavLst>
                                        <p:tav tm="0">
                                          <p:val>
                                            <p:strVal val="#ppt_x"/>
                                          </p:val>
                                        </p:tav>
                                        <p:tav tm="100000">
                                          <p:val>
                                            <p:strVal val="#ppt_x"/>
                                          </p:val>
                                        </p:tav>
                                      </p:tavLst>
                                    </p:anim>
                                    <p:anim calcmode="lin" valueType="num">
                                      <p:cBhvr additive="base">
                                        <p:cTn id="36" dur="1000" fill="hold"/>
                                        <p:tgtEl>
                                          <p:spTgt spid="8"/>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30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1000" fill="hold"/>
                                        <p:tgtEl>
                                          <p:spTgt spid="13"/>
                                        </p:tgtEl>
                                        <p:attrNameLst>
                                          <p:attrName>ppt_x</p:attrName>
                                        </p:attrNameLst>
                                      </p:cBhvr>
                                      <p:tavLst>
                                        <p:tav tm="0">
                                          <p:val>
                                            <p:strVal val="#ppt_x"/>
                                          </p:val>
                                        </p:tav>
                                        <p:tav tm="100000">
                                          <p:val>
                                            <p:strVal val="#ppt_x"/>
                                          </p:val>
                                        </p:tav>
                                      </p:tavLst>
                                    </p:anim>
                                    <p:anim calcmode="lin" valueType="num">
                                      <p:cBhvr additive="base">
                                        <p:cTn id="40"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63EB16D-F757-7B62-5F19-D757F72C7A71}"/>
            </a:ext>
          </a:extLst>
        </p:cNvPr>
        <p:cNvGrpSpPr/>
        <p:nvPr/>
      </p:nvGrpSpPr>
      <p:grpSpPr>
        <a:xfrm>
          <a:off x="0" y="0"/>
          <a:ext cx="0" cy="0"/>
          <a:chOff x="0" y="0"/>
          <a:chExt cx="0" cy="0"/>
        </a:xfrm>
      </p:grpSpPr>
      <p:pic>
        <p:nvPicPr>
          <p:cNvPr id="25" name="Picture 24" descr="A white face mask on a black background&#10;&#10;AI-generated content may be incorrect.">
            <a:extLst>
              <a:ext uri="{FF2B5EF4-FFF2-40B4-BE49-F238E27FC236}">
                <a16:creationId xmlns:a16="http://schemas.microsoft.com/office/drawing/2014/main" id="{53765109-1483-4F3B-299E-32F05FB9E788}"/>
              </a:ext>
            </a:extLst>
          </p:cNvPr>
          <p:cNvPicPr>
            <a:picLocks noChangeAspect="1"/>
          </p:cNvPicPr>
          <p:nvPr/>
        </p:nvPicPr>
        <p:blipFill>
          <a:blip r:embed="rId3"/>
          <a:srcRect b="25627"/>
          <a:stretch/>
        </p:blipFill>
        <p:spPr>
          <a:xfrm>
            <a:off x="0" y="2246684"/>
            <a:ext cx="8282225" cy="4619804"/>
          </a:xfrm>
          <a:prstGeom prst="rect">
            <a:avLst/>
          </a:prstGeom>
        </p:spPr>
      </p:pic>
      <p:sp>
        <p:nvSpPr>
          <p:cNvPr id="19" name="Rectangle: Rounded Corners 18">
            <a:extLst>
              <a:ext uri="{FF2B5EF4-FFF2-40B4-BE49-F238E27FC236}">
                <a16:creationId xmlns:a16="http://schemas.microsoft.com/office/drawing/2014/main" id="{52221C44-2E5C-11F6-D74B-CDC2B7BB030E}"/>
              </a:ext>
            </a:extLst>
          </p:cNvPr>
          <p:cNvSpPr>
            <a:spLocks noGrp="1" noRot="1" noMove="1" noResize="1" noEditPoints="1" noAdjustHandles="1" noChangeArrowheads="1" noChangeShapeType="1"/>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94934714-0F7A-A72F-50C5-2BEFC36EBDA1}"/>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A0B67EC-9D78-2FE9-66DD-901F28F443C2}"/>
              </a:ext>
            </a:extLst>
          </p:cNvPr>
          <p:cNvSpPr>
            <a:spLocks noGrp="1"/>
          </p:cNvSpPr>
          <p:nvPr>
            <p:ph type="title"/>
          </p:nvPr>
        </p:nvSpPr>
        <p:spPr>
          <a:xfrm>
            <a:off x="2545513" y="936001"/>
            <a:ext cx="7100974" cy="365126"/>
          </a:xfrm>
        </p:spPr>
        <p:txBody>
          <a:bodyPr/>
          <a:lstStyle/>
          <a:p>
            <a:pPr algn="ctr"/>
            <a:r>
              <a:rPr lang="en-GB"/>
              <a:t>End-to-End Life Cycle Support</a:t>
            </a:r>
            <a:endParaRPr lang="da-DK"/>
          </a:p>
        </p:txBody>
      </p:sp>
      <p:sp>
        <p:nvSpPr>
          <p:cNvPr id="6" name="Text Placeholder 5">
            <a:extLst>
              <a:ext uri="{FF2B5EF4-FFF2-40B4-BE49-F238E27FC236}">
                <a16:creationId xmlns:a16="http://schemas.microsoft.com/office/drawing/2014/main" id="{1EF2D81A-5B53-8213-EB3E-FB0DC0047BDB}"/>
              </a:ext>
            </a:extLst>
          </p:cNvPr>
          <p:cNvSpPr>
            <a:spLocks noGrp="1"/>
          </p:cNvSpPr>
          <p:nvPr>
            <p:ph type="body" sz="half" idx="2"/>
          </p:nvPr>
        </p:nvSpPr>
        <p:spPr>
          <a:xfrm>
            <a:off x="1616973" y="1566000"/>
            <a:ext cx="8958054" cy="282678"/>
          </a:xfrm>
        </p:spPr>
        <p:txBody>
          <a:bodyPr/>
          <a:lstStyle/>
          <a:p>
            <a:pPr algn="ctr"/>
            <a:r>
              <a:rPr lang="en-GB"/>
              <a:t>Support in overcoming deadlines and floods</a:t>
            </a:r>
            <a:endParaRPr lang="da-DK"/>
          </a:p>
        </p:txBody>
      </p:sp>
      <p:sp>
        <p:nvSpPr>
          <p:cNvPr id="3" name="Rectangle: Rounded Corners 2">
            <a:extLst>
              <a:ext uri="{FF2B5EF4-FFF2-40B4-BE49-F238E27FC236}">
                <a16:creationId xmlns:a16="http://schemas.microsoft.com/office/drawing/2014/main" id="{347E149F-5A1C-372E-4B89-DF5ABF1318AE}"/>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GB" sz="1100">
                <a:solidFill>
                  <a:schemeClr val="tx2"/>
                </a:solidFill>
              </a:rPr>
              <a:t>Amid the COVID-19 vaccine race, a customer </a:t>
            </a:r>
            <a:r>
              <a:rPr lang="en-GB" sz="1100" b="1">
                <a:solidFill>
                  <a:schemeClr val="tx2"/>
                </a:solidFill>
              </a:rPr>
              <a:t>faced aggressive timelines, strict regulatory oversight, and unexpected disruptions</a:t>
            </a:r>
            <a:r>
              <a:rPr lang="en-GB" sz="1100">
                <a:solidFill>
                  <a:schemeClr val="tx2"/>
                </a:solidFill>
              </a:rPr>
              <a:t> including a major facility flood.</a:t>
            </a:r>
          </a:p>
        </p:txBody>
      </p:sp>
      <p:sp>
        <p:nvSpPr>
          <p:cNvPr id="5" name="Rectangle: Rounded Corners 4">
            <a:extLst>
              <a:ext uri="{FF2B5EF4-FFF2-40B4-BE49-F238E27FC236}">
                <a16:creationId xmlns:a16="http://schemas.microsoft.com/office/drawing/2014/main" id="{FE4D7330-832F-E4CD-DCC4-5F429E3BFF9F}"/>
              </a:ext>
            </a:extLst>
          </p:cNvPr>
          <p:cNvSpPr/>
          <p:nvPr/>
        </p:nvSpPr>
        <p:spPr>
          <a:xfrm>
            <a:off x="1136753" y="44623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GB" sz="1100">
                <a:solidFill>
                  <a:schemeClr val="tx2"/>
                </a:solidFill>
              </a:rPr>
              <a:t>They needed </a:t>
            </a:r>
            <a:r>
              <a:rPr lang="en-GB" sz="1100" b="1">
                <a:solidFill>
                  <a:schemeClr val="tx2"/>
                </a:solidFill>
              </a:rPr>
              <a:t>full life cycle CQV support </a:t>
            </a:r>
            <a:r>
              <a:rPr lang="en-GB" sz="1100">
                <a:solidFill>
                  <a:schemeClr val="tx2"/>
                </a:solidFill>
              </a:rPr>
              <a:t>to stay audit-ready and ensure continuity, while adapting to five major project pivots under intense pressure.</a:t>
            </a:r>
            <a:endParaRPr lang="da-DK" sz="1100" b="0">
              <a:solidFill>
                <a:schemeClr val="tx2"/>
              </a:solidFill>
            </a:endParaRPr>
          </a:p>
        </p:txBody>
      </p:sp>
      <p:sp>
        <p:nvSpPr>
          <p:cNvPr id="7" name="Rectangle: Rounded Corners 6">
            <a:extLst>
              <a:ext uri="{FF2B5EF4-FFF2-40B4-BE49-F238E27FC236}">
                <a16:creationId xmlns:a16="http://schemas.microsoft.com/office/drawing/2014/main" id="{243593A2-0BBA-AACE-154E-1BE1BABCB0A2}"/>
              </a:ext>
            </a:extLst>
          </p:cNvPr>
          <p:cNvSpPr/>
          <p:nvPr/>
        </p:nvSpPr>
        <p:spPr>
          <a:xfrm>
            <a:off x="5986423" y="2959345"/>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served as a dedicated compliance partner – embedding CQV specialists, executing protocols, managing flood remediation, and ensuring qualification across multiple systems in parallel, resulting in:</a:t>
            </a:r>
          </a:p>
          <a:p>
            <a:pPr lvl="0"/>
            <a:endParaRPr lang="en-US" sz="1400" noProof="0">
              <a:solidFill>
                <a:schemeClr val="accent1"/>
              </a:solidFill>
            </a:endParaRP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Enabling continuous manufacturing</a:t>
            </a: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Maintaining validation continuity despite flooding</a:t>
            </a:r>
          </a:p>
          <a:p>
            <a:pPr lvl="0"/>
            <a:r>
              <a:rPr lang="en-US" sz="1400" b="1" i="0" noProof="0">
                <a:solidFill>
                  <a:schemeClr val="accent1"/>
                </a:solidFill>
              </a:rPr>
              <a:t>✓ </a:t>
            </a:r>
            <a:r>
              <a:rPr lang="en-US" sz="1400" noProof="0">
                <a:solidFill>
                  <a:schemeClr val="accent1"/>
                </a:solidFill>
              </a:rPr>
              <a:t>Achieving zero critical findings during inspection</a:t>
            </a: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Saving 12–18 months through parallel execution</a:t>
            </a:r>
            <a:endParaRPr lang="en-US" sz="1400" b="0" noProof="0">
              <a:solidFill>
                <a:schemeClr val="accent1"/>
              </a:solidFill>
            </a:endParaRPr>
          </a:p>
        </p:txBody>
      </p:sp>
      <p:sp>
        <p:nvSpPr>
          <p:cNvPr id="8" name="TextBox 7">
            <a:extLst>
              <a:ext uri="{FF2B5EF4-FFF2-40B4-BE49-F238E27FC236}">
                <a16:creationId xmlns:a16="http://schemas.microsoft.com/office/drawing/2014/main" id="{584DEED2-E5FB-6619-D117-BF5372A4540D}"/>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A0F00010-19C3-9A08-2F26-BCA813BECA65}"/>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E8437EF2-F554-1021-D2C5-99578DE67F5E}"/>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cxnSp>
        <p:nvCxnSpPr>
          <p:cNvPr id="26" name="Straight Connector 25">
            <a:extLst>
              <a:ext uri="{FF2B5EF4-FFF2-40B4-BE49-F238E27FC236}">
                <a16:creationId xmlns:a16="http://schemas.microsoft.com/office/drawing/2014/main" id="{A3819011-82CB-4A38-65E9-D8D51B3DED4D}"/>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E28F8C-9110-5C56-0FE2-B043BC395662}"/>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FF98D1C6-42D0-C29F-E4B0-270464521BA0}"/>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5542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par>
                                <p:cTn id="10" presetID="2" presetClass="entr" presetSubtype="4" decel="100000" fill="hold" nodeType="with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1000" fill="hold"/>
                                        <p:tgtEl>
                                          <p:spTgt spid="25"/>
                                        </p:tgtEl>
                                        <p:attrNameLst>
                                          <p:attrName>ppt_x</p:attrName>
                                        </p:attrNameLst>
                                      </p:cBhvr>
                                      <p:tavLst>
                                        <p:tav tm="0">
                                          <p:val>
                                            <p:strVal val="#ppt_x"/>
                                          </p:val>
                                        </p:tav>
                                        <p:tav tm="100000">
                                          <p:val>
                                            <p:strVal val="#ppt_x"/>
                                          </p:val>
                                        </p:tav>
                                      </p:tavLst>
                                    </p:anim>
                                    <p:anim calcmode="lin" valueType="num">
                                      <p:cBhvr additive="base">
                                        <p:cTn id="13" dur="1000" fill="hold"/>
                                        <p:tgtEl>
                                          <p:spTgt spid="25"/>
                                        </p:tgtEl>
                                        <p:attrNameLst>
                                          <p:attrName>ppt_y</p:attrName>
                                        </p:attrNameLst>
                                      </p:cBhvr>
                                      <p:tavLst>
                                        <p:tav tm="0">
                                          <p:val>
                                            <p:strVal val="1+#ppt_h/2"/>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1000"/>
                                        <p:tgtEl>
                                          <p:spTgt spid="9"/>
                                        </p:tgtEl>
                                      </p:cBhvr>
                                    </p:animEffect>
                                    <p:anim calcmode="lin" valueType="num">
                                      <p:cBhvr>
                                        <p:cTn id="34" dur="1000" fill="hold"/>
                                        <p:tgtEl>
                                          <p:spTgt spid="9"/>
                                        </p:tgtEl>
                                        <p:attrNameLst>
                                          <p:attrName>ppt_x</p:attrName>
                                        </p:attrNameLst>
                                      </p:cBhvr>
                                      <p:tavLst>
                                        <p:tav tm="0">
                                          <p:val>
                                            <p:strVal val="#ppt_x"/>
                                          </p:val>
                                        </p:tav>
                                        <p:tav tm="100000">
                                          <p:val>
                                            <p:strVal val="#ppt_x"/>
                                          </p:val>
                                        </p:tav>
                                      </p:tavLst>
                                    </p:anim>
                                    <p:anim calcmode="lin" valueType="num">
                                      <p:cBhvr>
                                        <p:cTn id="35" dur="1000" fill="hold"/>
                                        <p:tgtEl>
                                          <p:spTgt spid="9"/>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1000"/>
                                        <p:tgtEl>
                                          <p:spTgt spid="27"/>
                                        </p:tgtEl>
                                      </p:cBhvr>
                                    </p:animEffect>
                                    <p:anim calcmode="lin" valueType="num">
                                      <p:cBhvr>
                                        <p:cTn id="39" dur="1000" fill="hold"/>
                                        <p:tgtEl>
                                          <p:spTgt spid="27"/>
                                        </p:tgtEl>
                                        <p:attrNameLst>
                                          <p:attrName>ppt_x</p:attrName>
                                        </p:attrNameLst>
                                      </p:cBhvr>
                                      <p:tavLst>
                                        <p:tav tm="0">
                                          <p:val>
                                            <p:strVal val="#ppt_x"/>
                                          </p:val>
                                        </p:tav>
                                        <p:tav tm="100000">
                                          <p:val>
                                            <p:strVal val="#ppt_x"/>
                                          </p:val>
                                        </p:tav>
                                      </p:tavLst>
                                    </p:anim>
                                    <p:anim calcmode="lin" valueType="num">
                                      <p:cBhvr>
                                        <p:cTn id="40"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1000"/>
                                        <p:tgtEl>
                                          <p:spTgt spid="7"/>
                                        </p:tgtEl>
                                      </p:cBhvr>
                                    </p:animEffect>
                                    <p:anim calcmode="lin" valueType="num">
                                      <p:cBhvr>
                                        <p:cTn id="46" dur="1000" fill="hold"/>
                                        <p:tgtEl>
                                          <p:spTgt spid="7"/>
                                        </p:tgtEl>
                                        <p:attrNameLst>
                                          <p:attrName>ppt_x</p:attrName>
                                        </p:attrNameLst>
                                      </p:cBhvr>
                                      <p:tavLst>
                                        <p:tav tm="0">
                                          <p:val>
                                            <p:strVal val="#ppt_x"/>
                                          </p:val>
                                        </p:tav>
                                        <p:tav tm="100000">
                                          <p:val>
                                            <p:strVal val="#ppt_x"/>
                                          </p:val>
                                        </p:tav>
                                      </p:tavLst>
                                    </p:anim>
                                    <p:anim calcmode="lin" valueType="num">
                                      <p:cBhvr>
                                        <p:cTn id="47" dur="1000" fill="hold"/>
                                        <p:tgtEl>
                                          <p:spTgt spid="7"/>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1000"/>
                                        <p:tgtEl>
                                          <p:spTgt spid="10"/>
                                        </p:tgtEl>
                                      </p:cBhvr>
                                    </p:animEffect>
                                    <p:anim calcmode="lin" valueType="num">
                                      <p:cBhvr>
                                        <p:cTn id="51" dur="1000" fill="hold"/>
                                        <p:tgtEl>
                                          <p:spTgt spid="10"/>
                                        </p:tgtEl>
                                        <p:attrNameLst>
                                          <p:attrName>ppt_x</p:attrName>
                                        </p:attrNameLst>
                                      </p:cBhvr>
                                      <p:tavLst>
                                        <p:tav tm="0">
                                          <p:val>
                                            <p:strVal val="#ppt_x"/>
                                          </p:val>
                                        </p:tav>
                                        <p:tav tm="100000">
                                          <p:val>
                                            <p:strVal val="#ppt_x"/>
                                          </p:val>
                                        </p:tav>
                                      </p:tavLst>
                                    </p:anim>
                                    <p:anim calcmode="lin" valueType="num">
                                      <p:cBhvr>
                                        <p:cTn id="52" dur="1000" fill="hold"/>
                                        <p:tgtEl>
                                          <p:spTgt spid="10"/>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1000"/>
                                        <p:tgtEl>
                                          <p:spTgt spid="28"/>
                                        </p:tgtEl>
                                      </p:cBhvr>
                                    </p:animEffect>
                                    <p:anim calcmode="lin" valueType="num">
                                      <p:cBhvr>
                                        <p:cTn id="56" dur="1000" fill="hold"/>
                                        <p:tgtEl>
                                          <p:spTgt spid="28"/>
                                        </p:tgtEl>
                                        <p:attrNameLst>
                                          <p:attrName>ppt_x</p:attrName>
                                        </p:attrNameLst>
                                      </p:cBhvr>
                                      <p:tavLst>
                                        <p:tav tm="0">
                                          <p:val>
                                            <p:strVal val="#ppt_x"/>
                                          </p:val>
                                        </p:tav>
                                        <p:tav tm="100000">
                                          <p:val>
                                            <p:strVal val="#ppt_x"/>
                                          </p:val>
                                        </p:tav>
                                      </p:tavLst>
                                    </p:anim>
                                    <p:anim calcmode="lin" valueType="num">
                                      <p:cBhvr>
                                        <p:cTn id="57"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0A65359-86A5-9D67-6C71-B3702F434F2C}"/>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1D2E77E5-8476-52EA-C6D8-1363EF1F511F}"/>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2E9F9D1A-7726-D0E5-2857-065B4BC08756}"/>
              </a:ext>
            </a:extLst>
          </p:cNvPr>
          <p:cNvSpPr>
            <a:spLocks noGrp="1" noRot="1" noMove="1" noResize="1" noEditPoints="1" noAdjustHandles="1" noChangeArrowheads="1" noChangeShapeType="1"/>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Hands in gloves holding a piece of paper&#10;&#10;AI-generated content may be incorrect.">
            <a:extLst>
              <a:ext uri="{FF2B5EF4-FFF2-40B4-BE49-F238E27FC236}">
                <a16:creationId xmlns:a16="http://schemas.microsoft.com/office/drawing/2014/main" id="{FA189235-94E4-6C2B-D7D6-820FEBC0A8E9}"/>
              </a:ext>
            </a:extLst>
          </p:cNvPr>
          <p:cNvPicPr>
            <a:picLocks noChangeAspect="1"/>
          </p:cNvPicPr>
          <p:nvPr/>
        </p:nvPicPr>
        <p:blipFill>
          <a:blip r:embed="rId3">
            <a:alphaModFix amt="70000"/>
            <a:extLst>
              <a:ext uri="{BEBA8EAE-BF5A-486C-A8C5-ECC9F3942E4B}">
                <a14:imgProps xmlns:a14="http://schemas.microsoft.com/office/drawing/2010/main">
                  <a14:imgLayer r:embed="rId4">
                    <a14:imgEffect>
                      <a14:brightnessContrast bright="7000"/>
                    </a14:imgEffect>
                  </a14:imgLayer>
                </a14:imgProps>
              </a:ext>
            </a:extLst>
          </a:blip>
          <a:stretch>
            <a:fillRect/>
          </a:stretch>
        </p:blipFill>
        <p:spPr>
          <a:xfrm>
            <a:off x="1989550" y="2635045"/>
            <a:ext cx="6334433" cy="4222955"/>
          </a:xfrm>
          <a:prstGeom prst="rect">
            <a:avLst/>
          </a:prstGeom>
        </p:spPr>
      </p:pic>
      <p:sp>
        <p:nvSpPr>
          <p:cNvPr id="3" name="Rectangle: Rounded Corners 2">
            <a:extLst>
              <a:ext uri="{FF2B5EF4-FFF2-40B4-BE49-F238E27FC236}">
                <a16:creationId xmlns:a16="http://schemas.microsoft.com/office/drawing/2014/main" id="{CD8D3804-177C-1EF3-9AB7-E1E1693FFDC1}"/>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A customer aimed to modernize their sterilization validation workflow, previously dependent on slow, </a:t>
            </a:r>
            <a:r>
              <a:rPr lang="en-US" sz="1100" b="1">
                <a:solidFill>
                  <a:schemeClr val="tx2"/>
                </a:solidFill>
              </a:rPr>
              <a:t>manual Excel-based processes</a:t>
            </a:r>
            <a:r>
              <a:rPr lang="en-US" sz="1100">
                <a:solidFill>
                  <a:schemeClr val="tx2"/>
                </a:solidFill>
              </a:rPr>
              <a:t>.</a:t>
            </a:r>
          </a:p>
        </p:txBody>
      </p:sp>
      <p:sp>
        <p:nvSpPr>
          <p:cNvPr id="5" name="Rectangle: Rounded Corners 4">
            <a:extLst>
              <a:ext uri="{FF2B5EF4-FFF2-40B4-BE49-F238E27FC236}">
                <a16:creationId xmlns:a16="http://schemas.microsoft.com/office/drawing/2014/main" id="{BD82A590-4547-53D3-BDE5-77572694E9A4}"/>
              </a:ext>
            </a:extLst>
          </p:cNvPr>
          <p:cNvSpPr/>
          <p:nvPr/>
        </p:nvSpPr>
        <p:spPr>
          <a:xfrm>
            <a:off x="1136753" y="44242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Manual data handling </a:t>
            </a:r>
            <a:r>
              <a:rPr lang="en-US" sz="1100" b="1">
                <a:solidFill>
                  <a:schemeClr val="tx2"/>
                </a:solidFill>
              </a:rPr>
              <a:t>slowed reporting</a:t>
            </a:r>
            <a:r>
              <a:rPr lang="en-US" sz="1100">
                <a:solidFill>
                  <a:schemeClr val="tx2"/>
                </a:solidFill>
              </a:rPr>
              <a:t> (2–4 hours), </a:t>
            </a:r>
            <a:r>
              <a:rPr lang="en-US" sz="1100" b="1">
                <a:solidFill>
                  <a:schemeClr val="tx2"/>
                </a:solidFill>
              </a:rPr>
              <a:t>risked data integrity</a:t>
            </a:r>
            <a:r>
              <a:rPr lang="en-US" sz="1100">
                <a:solidFill>
                  <a:schemeClr val="tx2"/>
                </a:solidFill>
              </a:rPr>
              <a:t>, and </a:t>
            </a:r>
            <a:r>
              <a:rPr lang="en-US" sz="1100" b="1">
                <a:solidFill>
                  <a:schemeClr val="tx2"/>
                </a:solidFill>
              </a:rPr>
              <a:t>delayed decisions</a:t>
            </a:r>
            <a:r>
              <a:rPr lang="en-US" sz="1100">
                <a:solidFill>
                  <a:schemeClr val="tx2"/>
                </a:solidFill>
              </a:rPr>
              <a:t> in a compliance-critical process.</a:t>
            </a:r>
          </a:p>
        </p:txBody>
      </p:sp>
      <p:sp>
        <p:nvSpPr>
          <p:cNvPr id="7" name="Rectangle: Rounded Corners 6">
            <a:extLst>
              <a:ext uri="{FF2B5EF4-FFF2-40B4-BE49-F238E27FC236}">
                <a16:creationId xmlns:a16="http://schemas.microsoft.com/office/drawing/2014/main" id="{EA70882D-2947-6C43-5497-06D0F7E47706}"/>
              </a:ext>
            </a:extLst>
          </p:cNvPr>
          <p:cNvSpPr/>
          <p:nvPr/>
        </p:nvSpPr>
        <p:spPr>
          <a:xfrm>
            <a:off x="5986423" y="2959345"/>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delivered a live, two-week demo of its integrated </a:t>
            </a:r>
            <a:br>
              <a:rPr lang="en-US" sz="1400" noProof="0">
                <a:solidFill>
                  <a:schemeClr val="tx2"/>
                </a:solidFill>
              </a:rPr>
            </a:br>
            <a:r>
              <a:rPr lang="en-US" sz="1400" noProof="0">
                <a:solidFill>
                  <a:schemeClr val="tx2"/>
                </a:solidFill>
              </a:rPr>
              <a:t>E-Val™ Pro system and ValSuite® Pro software, supported by on-site specialists, resulting in:</a:t>
            </a:r>
          </a:p>
          <a:p>
            <a:pPr lvl="0"/>
            <a:endParaRPr lang="en-US" sz="1400" noProof="0">
              <a:solidFill>
                <a:schemeClr val="accent1"/>
              </a:solidFill>
            </a:endParaRPr>
          </a:p>
          <a:p>
            <a:pPr lvl="0"/>
            <a:r>
              <a:rPr lang="en-US" sz="1400" b="1" i="0" noProof="0">
                <a:solidFill>
                  <a:schemeClr val="accent1"/>
                </a:solidFill>
              </a:rPr>
              <a:t>✓</a:t>
            </a:r>
            <a:r>
              <a:rPr lang="en-US" sz="1400" i="0" noProof="0">
                <a:solidFill>
                  <a:schemeClr val="accent1"/>
                </a:solidFill>
              </a:rPr>
              <a:t> Reporting time reduced from hours to &lt;30 minutes (88%       </a:t>
            </a:r>
            <a:endParaRPr lang="en-US" sz="1400">
              <a:solidFill>
                <a:schemeClr val="accent1"/>
              </a:solidFill>
            </a:endParaRPr>
          </a:p>
          <a:p>
            <a:pPr marL="216000" lvl="0"/>
            <a:r>
              <a:rPr lang="en-US" sz="1400" i="0" noProof="0">
                <a:solidFill>
                  <a:schemeClr val="accent1"/>
                </a:solidFill>
              </a:rPr>
              <a:t>efficiency gain)</a:t>
            </a:r>
          </a:p>
          <a:p>
            <a:pPr lvl="0"/>
            <a:r>
              <a:rPr lang="en-US" sz="1400" b="1" i="0" noProof="0">
                <a:solidFill>
                  <a:schemeClr val="accent1"/>
                </a:solidFill>
              </a:rPr>
              <a:t>✓</a:t>
            </a:r>
            <a:r>
              <a:rPr lang="en-US" sz="1400" i="0" noProof="0">
                <a:solidFill>
                  <a:schemeClr val="accent1"/>
                </a:solidFill>
              </a:rPr>
              <a:t> Eliminating manual Excel work</a:t>
            </a:r>
          </a:p>
          <a:p>
            <a:pPr lvl="0"/>
            <a:r>
              <a:rPr lang="en-US" sz="1400" b="1" i="0" noProof="0">
                <a:solidFill>
                  <a:schemeClr val="accent1"/>
                </a:solidFill>
              </a:rPr>
              <a:t>✓</a:t>
            </a:r>
            <a:r>
              <a:rPr lang="en-US" sz="1400" i="0" noProof="0">
                <a:solidFill>
                  <a:schemeClr val="accent1"/>
                </a:solidFill>
              </a:rPr>
              <a:t> Delivering audit-ready, traceable validation data</a:t>
            </a:r>
          </a:p>
          <a:p>
            <a:pPr lvl="0"/>
            <a:r>
              <a:rPr lang="en-US" sz="1400" b="1" i="0" noProof="0">
                <a:solidFill>
                  <a:schemeClr val="accent1"/>
                </a:solidFill>
              </a:rPr>
              <a:t>✓</a:t>
            </a:r>
            <a:r>
              <a:rPr lang="en-US" sz="1400" i="0" noProof="0">
                <a:solidFill>
                  <a:schemeClr val="accent1"/>
                </a:solidFill>
              </a:rPr>
              <a:t> Improving decision-making speed and data confidence</a:t>
            </a:r>
          </a:p>
        </p:txBody>
      </p:sp>
      <p:sp>
        <p:nvSpPr>
          <p:cNvPr id="8" name="TextBox 7">
            <a:extLst>
              <a:ext uri="{FF2B5EF4-FFF2-40B4-BE49-F238E27FC236}">
                <a16:creationId xmlns:a16="http://schemas.microsoft.com/office/drawing/2014/main" id="{CF2E5884-C3DA-9B10-F754-2B85C8ED9E48}"/>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54D282F1-E774-47A7-73B1-78004DFA596D}"/>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5E0FD2E5-D8DD-2E4B-A5AC-B2919A2AFC88}"/>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sp>
        <p:nvSpPr>
          <p:cNvPr id="14" name="Title 3">
            <a:extLst>
              <a:ext uri="{FF2B5EF4-FFF2-40B4-BE49-F238E27FC236}">
                <a16:creationId xmlns:a16="http://schemas.microsoft.com/office/drawing/2014/main" id="{BC8FF733-0E84-781A-9B6E-38698B009DA9}"/>
              </a:ext>
            </a:extLst>
          </p:cNvPr>
          <p:cNvSpPr txBox="1">
            <a:spLocks/>
          </p:cNvSpPr>
          <p:nvPr/>
        </p:nvSpPr>
        <p:spPr bwMode="auto">
          <a:xfrm>
            <a:off x="683583" y="936001"/>
            <a:ext cx="10824835" cy="3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r>
              <a:rPr lang="en-GB"/>
              <a:t>Equipment, Expertise, and Services</a:t>
            </a:r>
            <a:endParaRPr lang="da-DK"/>
          </a:p>
        </p:txBody>
      </p:sp>
      <p:sp>
        <p:nvSpPr>
          <p:cNvPr id="15" name="Text Placeholder 5">
            <a:extLst>
              <a:ext uri="{FF2B5EF4-FFF2-40B4-BE49-F238E27FC236}">
                <a16:creationId xmlns:a16="http://schemas.microsoft.com/office/drawing/2014/main" id="{A1D64354-DB12-F07B-E98E-5CACB3F0AF39}"/>
              </a:ext>
            </a:extLst>
          </p:cNvPr>
          <p:cNvSpPr txBox="1">
            <a:spLocks/>
          </p:cNvSpPr>
          <p:nvPr/>
        </p:nvSpPr>
        <p:spPr bwMode="auto">
          <a:xfrm>
            <a:off x="1616973" y="1566000"/>
            <a:ext cx="8958054" cy="282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GB"/>
              <a:t>Support in optimizing workflows</a:t>
            </a:r>
            <a:endParaRPr lang="da-DK"/>
          </a:p>
        </p:txBody>
      </p:sp>
      <p:cxnSp>
        <p:nvCxnSpPr>
          <p:cNvPr id="17" name="Straight Connector 16">
            <a:extLst>
              <a:ext uri="{FF2B5EF4-FFF2-40B4-BE49-F238E27FC236}">
                <a16:creationId xmlns:a16="http://schemas.microsoft.com/office/drawing/2014/main" id="{F131472E-0243-D136-9387-C68908FD6E44}"/>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7F8F6DB-7AE5-DB5F-D23D-BD98C46CF0EA}"/>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6238A0A3-30D7-7506-0DEF-7B973FB65093}"/>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2891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anim calcmode="lin" valueType="num">
                                      <p:cBhvr>
                                        <p:cTn id="17" dur="1000" fill="hold"/>
                                        <p:tgtEl>
                                          <p:spTgt spid="3"/>
                                        </p:tgtEl>
                                        <p:attrNameLst>
                                          <p:attrName>ppt_x</p:attrName>
                                        </p:attrNameLst>
                                      </p:cBhvr>
                                      <p:tavLst>
                                        <p:tav tm="0">
                                          <p:val>
                                            <p:strVal val="#ppt_x"/>
                                          </p:val>
                                        </p:tav>
                                        <p:tav tm="100000">
                                          <p:val>
                                            <p:strVal val="#ppt_x"/>
                                          </p:val>
                                        </p:tav>
                                      </p:tavLst>
                                    </p:anim>
                                    <p:anim calcmode="lin" valueType="num">
                                      <p:cBhvr>
                                        <p:cTn id="18" dur="1000" fill="hold"/>
                                        <p:tgtEl>
                                          <p:spTgt spid="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1000"/>
                                        <p:tgtEl>
                                          <p:spTgt spid="5"/>
                                        </p:tgtEl>
                                      </p:cBhvr>
                                    </p:animEffect>
                                    <p:anim calcmode="lin" valueType="num">
                                      <p:cBhvr>
                                        <p:cTn id="34" dur="1000" fill="hold"/>
                                        <p:tgtEl>
                                          <p:spTgt spid="5"/>
                                        </p:tgtEl>
                                        <p:attrNameLst>
                                          <p:attrName>ppt_x</p:attrName>
                                        </p:attrNameLst>
                                      </p:cBhvr>
                                      <p:tavLst>
                                        <p:tav tm="0">
                                          <p:val>
                                            <p:strVal val="#ppt_x"/>
                                          </p:val>
                                        </p:tav>
                                        <p:tav tm="100000">
                                          <p:val>
                                            <p:strVal val="#ppt_x"/>
                                          </p:val>
                                        </p:tav>
                                      </p:tavLst>
                                    </p:anim>
                                    <p:anim calcmode="lin" valueType="num">
                                      <p:cBhvr>
                                        <p:cTn id="35" dur="1000" fill="hold"/>
                                        <p:tgtEl>
                                          <p:spTgt spid="5"/>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1000"/>
                                        <p:tgtEl>
                                          <p:spTgt spid="22"/>
                                        </p:tgtEl>
                                      </p:cBhvr>
                                    </p:animEffect>
                                    <p:anim calcmode="lin" valueType="num">
                                      <p:cBhvr>
                                        <p:cTn id="39" dur="1000" fill="hold"/>
                                        <p:tgtEl>
                                          <p:spTgt spid="22"/>
                                        </p:tgtEl>
                                        <p:attrNameLst>
                                          <p:attrName>ppt_x</p:attrName>
                                        </p:attrNameLst>
                                      </p:cBhvr>
                                      <p:tavLst>
                                        <p:tav tm="0">
                                          <p:val>
                                            <p:strVal val="#ppt_x"/>
                                          </p:val>
                                        </p:tav>
                                        <p:tav tm="100000">
                                          <p:val>
                                            <p:strVal val="#ppt_x"/>
                                          </p:val>
                                        </p:tav>
                                      </p:tavLst>
                                    </p:anim>
                                    <p:anim calcmode="lin" valueType="num">
                                      <p:cBhvr>
                                        <p:cTn id="4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1000"/>
                                        <p:tgtEl>
                                          <p:spTgt spid="10"/>
                                        </p:tgtEl>
                                      </p:cBhvr>
                                    </p:animEffect>
                                    <p:anim calcmode="lin" valueType="num">
                                      <p:cBhvr>
                                        <p:cTn id="46" dur="1000" fill="hold"/>
                                        <p:tgtEl>
                                          <p:spTgt spid="10"/>
                                        </p:tgtEl>
                                        <p:attrNameLst>
                                          <p:attrName>ppt_x</p:attrName>
                                        </p:attrNameLst>
                                      </p:cBhvr>
                                      <p:tavLst>
                                        <p:tav tm="0">
                                          <p:val>
                                            <p:strVal val="#ppt_x"/>
                                          </p:val>
                                        </p:tav>
                                        <p:tav tm="100000">
                                          <p:val>
                                            <p:strVal val="#ppt_x"/>
                                          </p:val>
                                        </p:tav>
                                      </p:tavLst>
                                    </p:anim>
                                    <p:anim calcmode="lin" valueType="num">
                                      <p:cBhvr>
                                        <p:cTn id="47" dur="1000" fill="hold"/>
                                        <p:tgtEl>
                                          <p:spTgt spid="1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1000"/>
                                        <p:tgtEl>
                                          <p:spTgt spid="7"/>
                                        </p:tgtEl>
                                      </p:cBhvr>
                                    </p:animEffect>
                                    <p:anim calcmode="lin" valueType="num">
                                      <p:cBhvr>
                                        <p:cTn id="51" dur="1000" fill="hold"/>
                                        <p:tgtEl>
                                          <p:spTgt spid="7"/>
                                        </p:tgtEl>
                                        <p:attrNameLst>
                                          <p:attrName>ppt_x</p:attrName>
                                        </p:attrNameLst>
                                      </p:cBhvr>
                                      <p:tavLst>
                                        <p:tav tm="0">
                                          <p:val>
                                            <p:strVal val="#ppt_x"/>
                                          </p:val>
                                        </p:tav>
                                        <p:tav tm="100000">
                                          <p:val>
                                            <p:strVal val="#ppt_x"/>
                                          </p:val>
                                        </p:tav>
                                      </p:tavLst>
                                    </p:anim>
                                    <p:anim calcmode="lin" valueType="num">
                                      <p:cBhvr>
                                        <p:cTn id="52" dur="1000" fill="hold"/>
                                        <p:tgtEl>
                                          <p:spTgt spid="7"/>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4AB85AD-A6BA-840B-EB8D-CF36920939FF}"/>
            </a:ext>
          </a:extLst>
        </p:cNvPr>
        <p:cNvGrpSpPr/>
        <p:nvPr/>
      </p:nvGrpSpPr>
      <p:grpSpPr>
        <a:xfrm>
          <a:off x="0" y="0"/>
          <a:ext cx="0" cy="0"/>
          <a:chOff x="0" y="0"/>
          <a:chExt cx="0" cy="0"/>
        </a:xfrm>
      </p:grpSpPr>
      <p:pic>
        <p:nvPicPr>
          <p:cNvPr id="14" name="Picture 13" descr="A person and person in white lab coats&#10;&#10;AI-generated content may be incorrect.">
            <a:extLst>
              <a:ext uri="{FF2B5EF4-FFF2-40B4-BE49-F238E27FC236}">
                <a16:creationId xmlns:a16="http://schemas.microsoft.com/office/drawing/2014/main" id="{733B7A96-E718-7415-5F62-1540267FA1D6}"/>
              </a:ext>
            </a:extLst>
          </p:cNvPr>
          <p:cNvPicPr>
            <a:picLocks noChangeAspect="1"/>
          </p:cNvPicPr>
          <p:nvPr/>
        </p:nvPicPr>
        <p:blipFill>
          <a:blip r:embed="rId3">
            <a:alphaModFix amt="70000"/>
          </a:blip>
          <a:srcRect l="49426"/>
          <a:stretch>
            <a:fillRect/>
          </a:stretch>
        </p:blipFill>
        <p:spPr>
          <a:xfrm>
            <a:off x="10037464" y="2437735"/>
            <a:ext cx="3612972" cy="4762573"/>
          </a:xfrm>
          <a:prstGeom prst="rect">
            <a:avLst/>
          </a:prstGeom>
        </p:spPr>
      </p:pic>
      <p:sp>
        <p:nvSpPr>
          <p:cNvPr id="19" name="Rectangle: Rounded Corners 18">
            <a:extLst>
              <a:ext uri="{FF2B5EF4-FFF2-40B4-BE49-F238E27FC236}">
                <a16:creationId xmlns:a16="http://schemas.microsoft.com/office/drawing/2014/main" id="{7DAF09A6-64A7-E26F-5570-14C05A99604D}"/>
              </a:ext>
            </a:extLst>
          </p:cNvPr>
          <p:cNvSpPr>
            <a:spLocks/>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719D2919-900B-AAE7-E40F-2ABC2ED92B2C}"/>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51951976-18C0-FA28-FCF8-73677DFA28BB}"/>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A stalled audit-response program at a legacy site </a:t>
            </a:r>
            <a:r>
              <a:rPr lang="en-US" sz="1100" b="1">
                <a:solidFill>
                  <a:schemeClr val="tx2"/>
                </a:solidFill>
              </a:rPr>
              <a:t>risked compliance</a:t>
            </a:r>
            <a:r>
              <a:rPr lang="en-US" sz="1100">
                <a:solidFill>
                  <a:schemeClr val="tx2"/>
                </a:solidFill>
              </a:rPr>
              <a:t> due to overdue protocols, fragmented vendor oversight, and under-trained QA staff.</a:t>
            </a:r>
          </a:p>
        </p:txBody>
      </p:sp>
      <p:sp>
        <p:nvSpPr>
          <p:cNvPr id="5" name="Rectangle: Rounded Corners 4">
            <a:extLst>
              <a:ext uri="{FF2B5EF4-FFF2-40B4-BE49-F238E27FC236}">
                <a16:creationId xmlns:a16="http://schemas.microsoft.com/office/drawing/2014/main" id="{FB678714-7ABF-DED0-3D91-C241E93C4A80}"/>
              </a:ext>
            </a:extLst>
          </p:cNvPr>
          <p:cNvSpPr/>
          <p:nvPr/>
        </p:nvSpPr>
        <p:spPr>
          <a:xfrm>
            <a:off x="1136753" y="44623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The customer faced looming re-inspection with </a:t>
            </a:r>
            <a:r>
              <a:rPr lang="en-US" sz="1100" b="1">
                <a:solidFill>
                  <a:schemeClr val="tx2"/>
                </a:solidFill>
              </a:rPr>
              <a:t>documentation gaps</a:t>
            </a:r>
            <a:r>
              <a:rPr lang="en-US" sz="1100">
                <a:solidFill>
                  <a:schemeClr val="tx2"/>
                </a:solidFill>
              </a:rPr>
              <a:t>, </a:t>
            </a:r>
            <a:r>
              <a:rPr lang="en-US" sz="1100" b="1">
                <a:solidFill>
                  <a:schemeClr val="tx2"/>
                </a:solidFill>
              </a:rPr>
              <a:t>unqualified assets</a:t>
            </a:r>
            <a:r>
              <a:rPr lang="en-US" sz="1100">
                <a:solidFill>
                  <a:schemeClr val="tx2"/>
                </a:solidFill>
              </a:rPr>
              <a:t>, and </a:t>
            </a:r>
            <a:r>
              <a:rPr lang="en-US" sz="1100" b="1">
                <a:solidFill>
                  <a:schemeClr val="tx2"/>
                </a:solidFill>
              </a:rPr>
              <a:t>no clear governance</a:t>
            </a:r>
            <a:r>
              <a:rPr lang="en-US" sz="1100">
                <a:solidFill>
                  <a:schemeClr val="tx2"/>
                </a:solidFill>
              </a:rPr>
              <a:t>.</a:t>
            </a:r>
          </a:p>
        </p:txBody>
      </p:sp>
      <p:sp>
        <p:nvSpPr>
          <p:cNvPr id="7" name="Rectangle: Rounded Corners 6">
            <a:extLst>
              <a:ext uri="{FF2B5EF4-FFF2-40B4-BE49-F238E27FC236}">
                <a16:creationId xmlns:a16="http://schemas.microsoft.com/office/drawing/2014/main" id="{B9D1278C-5679-A014-E9EB-30184E211721}"/>
              </a:ext>
            </a:extLst>
          </p:cNvPr>
          <p:cNvSpPr/>
          <p:nvPr/>
        </p:nvSpPr>
        <p:spPr>
          <a:xfrm>
            <a:off x="5986423" y="3084066"/>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became a single-source compliance partner – conducting a triage workshop, embedding specialists, executing overdue protocols, and streamlining validation, monitoring, and calibration, resulting in:</a:t>
            </a:r>
          </a:p>
          <a:p>
            <a:pPr lvl="0"/>
            <a:endParaRPr lang="en-US" sz="1400" noProof="0">
              <a:solidFill>
                <a:schemeClr val="accent1"/>
              </a:solidFill>
            </a:endParaRPr>
          </a:p>
          <a:p>
            <a:pPr lvl="0"/>
            <a:r>
              <a:rPr lang="en-US" sz="1400" b="1" i="0" noProof="0">
                <a:solidFill>
                  <a:schemeClr val="accent1"/>
                </a:solidFill>
              </a:rPr>
              <a:t>✓ </a:t>
            </a:r>
            <a:r>
              <a:rPr lang="en-US" sz="1400" i="0" noProof="0">
                <a:solidFill>
                  <a:schemeClr val="accent1"/>
                </a:solidFill>
              </a:rPr>
              <a:t>Re-establishing compliant validation activities</a:t>
            </a:r>
          </a:p>
          <a:p>
            <a:pPr lvl="0"/>
            <a:r>
              <a:rPr lang="en-US" sz="1400" b="1" i="0" noProof="0">
                <a:solidFill>
                  <a:schemeClr val="accent1"/>
                </a:solidFill>
              </a:rPr>
              <a:t>✓</a:t>
            </a:r>
            <a:r>
              <a:rPr lang="en-US" sz="1400" i="0" noProof="0">
                <a:solidFill>
                  <a:schemeClr val="accent1"/>
                </a:solidFill>
              </a:rPr>
              <a:t> Closing remediation gaps and reduced audit findings</a:t>
            </a:r>
          </a:p>
          <a:p>
            <a:pPr lvl="0"/>
            <a:r>
              <a:rPr lang="en-US" sz="1400" b="1" i="0" noProof="0">
                <a:solidFill>
                  <a:schemeClr val="accent1"/>
                </a:solidFill>
              </a:rPr>
              <a:t>✓</a:t>
            </a:r>
            <a:r>
              <a:rPr lang="en-US" sz="1400" i="0" noProof="0">
                <a:solidFill>
                  <a:schemeClr val="accent1"/>
                </a:solidFill>
              </a:rPr>
              <a:t> Regaining momentum and project control</a:t>
            </a:r>
          </a:p>
          <a:p>
            <a:pPr marL="216000" lvl="0" indent="-252000"/>
            <a:r>
              <a:rPr lang="en-US" sz="1400" b="1" i="0" noProof="0">
                <a:solidFill>
                  <a:schemeClr val="accent1"/>
                </a:solidFill>
              </a:rPr>
              <a:t>✓</a:t>
            </a:r>
            <a:r>
              <a:rPr lang="en-US" sz="1400" i="0" noProof="0">
                <a:solidFill>
                  <a:schemeClr val="accent1"/>
                </a:solidFill>
              </a:rPr>
              <a:t> Cutting remediation time from “years away” to “quarters</a:t>
            </a:r>
            <a:br>
              <a:rPr lang="en-US" sz="1400" i="0" noProof="0">
                <a:solidFill>
                  <a:schemeClr val="accent1"/>
                </a:solidFill>
              </a:rPr>
            </a:br>
            <a:r>
              <a:rPr lang="en-US" sz="1400" i="0" noProof="0">
                <a:solidFill>
                  <a:schemeClr val="accent1"/>
                </a:solidFill>
              </a:rPr>
              <a:t>complete”</a:t>
            </a:r>
          </a:p>
        </p:txBody>
      </p:sp>
      <p:sp>
        <p:nvSpPr>
          <p:cNvPr id="8" name="TextBox 7">
            <a:extLst>
              <a:ext uri="{FF2B5EF4-FFF2-40B4-BE49-F238E27FC236}">
                <a16:creationId xmlns:a16="http://schemas.microsoft.com/office/drawing/2014/main" id="{B57CC3EC-77C0-CE75-40AB-CF9591C29016}"/>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0193D7B6-E5F6-9856-946E-477C3325ED5B}"/>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91848689-B75A-F32A-240F-464E75AFE179}"/>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sp>
        <p:nvSpPr>
          <p:cNvPr id="2" name="Title 3">
            <a:extLst>
              <a:ext uri="{FF2B5EF4-FFF2-40B4-BE49-F238E27FC236}">
                <a16:creationId xmlns:a16="http://schemas.microsoft.com/office/drawing/2014/main" id="{18665E21-9646-52B0-F04C-AB80487E04B0}"/>
              </a:ext>
            </a:extLst>
          </p:cNvPr>
          <p:cNvSpPr>
            <a:spLocks noGrp="1"/>
          </p:cNvSpPr>
          <p:nvPr>
            <p:ph type="title"/>
          </p:nvPr>
        </p:nvSpPr>
        <p:spPr>
          <a:xfrm>
            <a:off x="683583" y="936001"/>
            <a:ext cx="10824835" cy="365126"/>
          </a:xfrm>
        </p:spPr>
        <p:txBody>
          <a:bodyPr/>
          <a:lstStyle/>
          <a:p>
            <a:pPr algn="ctr"/>
            <a:r>
              <a:rPr lang="en-GB"/>
              <a:t>Reducing Vendor Complexity</a:t>
            </a:r>
            <a:endParaRPr lang="da-DK"/>
          </a:p>
        </p:txBody>
      </p:sp>
      <p:sp>
        <p:nvSpPr>
          <p:cNvPr id="4" name="Text Placeholder 5">
            <a:extLst>
              <a:ext uri="{FF2B5EF4-FFF2-40B4-BE49-F238E27FC236}">
                <a16:creationId xmlns:a16="http://schemas.microsoft.com/office/drawing/2014/main" id="{58D9EEBF-F212-1D92-6C2A-53C6BA71EC6F}"/>
              </a:ext>
            </a:extLst>
          </p:cNvPr>
          <p:cNvSpPr txBox="1">
            <a:spLocks/>
          </p:cNvSpPr>
          <p:nvPr/>
        </p:nvSpPr>
        <p:spPr bwMode="auto">
          <a:xfrm>
            <a:off x="3470198" y="1566000"/>
            <a:ext cx="5251603" cy="17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GB"/>
              <a:t>Support in becoming audit ready from the ground up</a:t>
            </a:r>
            <a:endParaRPr lang="da-DK"/>
          </a:p>
        </p:txBody>
      </p:sp>
      <p:cxnSp>
        <p:nvCxnSpPr>
          <p:cNvPr id="6" name="Straight Connector 5">
            <a:extLst>
              <a:ext uri="{FF2B5EF4-FFF2-40B4-BE49-F238E27FC236}">
                <a16:creationId xmlns:a16="http://schemas.microsoft.com/office/drawing/2014/main" id="{FD8096CF-F856-7F1F-EAD7-C62893553AB8}"/>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294D1D1-5DE7-E0C1-144D-CFC35E91A22C}"/>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12" name="Straight Connector 11">
            <a:extLst>
              <a:ext uri="{FF2B5EF4-FFF2-40B4-BE49-F238E27FC236}">
                <a16:creationId xmlns:a16="http://schemas.microsoft.com/office/drawing/2014/main" id="{9C7FA6B2-2474-714F-D2D7-A48A619743EA}"/>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5644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anim calcmode="lin" valueType="num">
                                      <p:cBhvr>
                                        <p:cTn id="21" dur="1000" fill="hold"/>
                                        <p:tgtEl>
                                          <p:spTgt spid="6"/>
                                        </p:tgtEl>
                                        <p:attrNameLst>
                                          <p:attrName>ppt_x</p:attrName>
                                        </p:attrNameLst>
                                      </p:cBhvr>
                                      <p:tavLst>
                                        <p:tav tm="0">
                                          <p:val>
                                            <p:strVal val="#ppt_x"/>
                                          </p:val>
                                        </p:tav>
                                        <p:tav tm="100000">
                                          <p:val>
                                            <p:strVal val="#ppt_x"/>
                                          </p:val>
                                        </p:tav>
                                      </p:tavLst>
                                    </p:anim>
                                    <p:anim calcmode="lin" valueType="num">
                                      <p:cBhvr>
                                        <p:cTn id="22"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1000"/>
                                        <p:tgtEl>
                                          <p:spTgt spid="5"/>
                                        </p:tgtEl>
                                      </p:cBhvr>
                                    </p:animEffect>
                                    <p:anim calcmode="lin" valueType="num">
                                      <p:cBhvr>
                                        <p:cTn id="33" dur="1000" fill="hold"/>
                                        <p:tgtEl>
                                          <p:spTgt spid="5"/>
                                        </p:tgtEl>
                                        <p:attrNameLst>
                                          <p:attrName>ppt_x</p:attrName>
                                        </p:attrNameLst>
                                      </p:cBhvr>
                                      <p:tavLst>
                                        <p:tav tm="0">
                                          <p:val>
                                            <p:strVal val="#ppt_x"/>
                                          </p:val>
                                        </p:tav>
                                        <p:tav tm="100000">
                                          <p:val>
                                            <p:strVal val="#ppt_x"/>
                                          </p:val>
                                        </p:tav>
                                      </p:tavLst>
                                    </p:anim>
                                    <p:anim calcmode="lin" valueType="num">
                                      <p:cBhvr>
                                        <p:cTn id="34" dur="1000" fill="hold"/>
                                        <p:tgtEl>
                                          <p:spTgt spid="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000"/>
                                        <p:tgtEl>
                                          <p:spTgt spid="11"/>
                                        </p:tgtEl>
                                      </p:cBhvr>
                                    </p:animEffect>
                                    <p:anim calcmode="lin" valueType="num">
                                      <p:cBhvr>
                                        <p:cTn id="38" dur="1000" fill="hold"/>
                                        <p:tgtEl>
                                          <p:spTgt spid="11"/>
                                        </p:tgtEl>
                                        <p:attrNameLst>
                                          <p:attrName>ppt_x</p:attrName>
                                        </p:attrNameLst>
                                      </p:cBhvr>
                                      <p:tavLst>
                                        <p:tav tm="0">
                                          <p:val>
                                            <p:strVal val="#ppt_x"/>
                                          </p:val>
                                        </p:tav>
                                        <p:tav tm="100000">
                                          <p:val>
                                            <p:strVal val="#ppt_x"/>
                                          </p:val>
                                        </p:tav>
                                      </p:tavLst>
                                    </p:anim>
                                    <p:anim calcmode="lin" valueType="num">
                                      <p:cBhvr>
                                        <p:cTn id="3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1000"/>
                                        <p:tgtEl>
                                          <p:spTgt spid="10"/>
                                        </p:tgtEl>
                                      </p:cBhvr>
                                    </p:animEffect>
                                    <p:anim calcmode="lin" valueType="num">
                                      <p:cBhvr>
                                        <p:cTn id="45" dur="1000" fill="hold"/>
                                        <p:tgtEl>
                                          <p:spTgt spid="10"/>
                                        </p:tgtEl>
                                        <p:attrNameLst>
                                          <p:attrName>ppt_x</p:attrName>
                                        </p:attrNameLst>
                                      </p:cBhvr>
                                      <p:tavLst>
                                        <p:tav tm="0">
                                          <p:val>
                                            <p:strVal val="#ppt_x"/>
                                          </p:val>
                                        </p:tav>
                                        <p:tav tm="100000">
                                          <p:val>
                                            <p:strVal val="#ppt_x"/>
                                          </p:val>
                                        </p:tav>
                                      </p:tavLst>
                                    </p:anim>
                                    <p:anim calcmode="lin" valueType="num">
                                      <p:cBhvr>
                                        <p:cTn id="46" dur="1000" fill="hold"/>
                                        <p:tgtEl>
                                          <p:spTgt spid="10"/>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1000"/>
                                        <p:tgtEl>
                                          <p:spTgt spid="12"/>
                                        </p:tgtEl>
                                      </p:cBhvr>
                                    </p:animEffect>
                                    <p:anim calcmode="lin" valueType="num">
                                      <p:cBhvr>
                                        <p:cTn id="55" dur="1000" fill="hold"/>
                                        <p:tgtEl>
                                          <p:spTgt spid="12"/>
                                        </p:tgtEl>
                                        <p:attrNameLst>
                                          <p:attrName>ppt_x</p:attrName>
                                        </p:attrNameLst>
                                      </p:cBhvr>
                                      <p:tavLst>
                                        <p:tav tm="0">
                                          <p:val>
                                            <p:strVal val="#ppt_x"/>
                                          </p:val>
                                        </p:tav>
                                        <p:tav tm="100000">
                                          <p:val>
                                            <p:strVal val="#ppt_x"/>
                                          </p:val>
                                        </p:tav>
                                      </p:tavLst>
                                    </p:anim>
                                    <p:anim calcmode="lin" valueType="num">
                                      <p:cBhvr>
                                        <p:cTn id="5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4000"/>
            <a:lum/>
          </a:blip>
          <a:srcRect/>
          <a:stretch>
            <a:fillRect/>
          </a:stretch>
        </a:blipFill>
        <a:effectLst/>
      </p:bgPr>
    </p:bg>
    <p:spTree>
      <p:nvGrpSpPr>
        <p:cNvPr id="1" name="">
          <a:extLst>
            <a:ext uri="{FF2B5EF4-FFF2-40B4-BE49-F238E27FC236}">
              <a16:creationId xmlns:a16="http://schemas.microsoft.com/office/drawing/2014/main" id="{D93A2BE8-7D52-D3AD-ADC3-0BA1C272540F}"/>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FA8F336C-2478-E22E-64E3-A090BF9A802F}"/>
              </a:ext>
            </a:extLst>
          </p:cNvPr>
          <p:cNvSpPr/>
          <p:nvPr/>
        </p:nvSpPr>
        <p:spPr>
          <a:xfrm>
            <a:off x="-131391" y="2182191"/>
            <a:ext cx="3715530" cy="3654137"/>
          </a:xfrm>
          <a:prstGeom prst="ellipse">
            <a:avLst/>
          </a:prstGeom>
          <a:solidFill>
            <a:srgbClr val="009EE3"/>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p>
        </p:txBody>
      </p:sp>
      <p:pic>
        <p:nvPicPr>
          <p:cNvPr id="3" name="Graphic 2">
            <a:extLst>
              <a:ext uri="{FF2B5EF4-FFF2-40B4-BE49-F238E27FC236}">
                <a16:creationId xmlns:a16="http://schemas.microsoft.com/office/drawing/2014/main" id="{9276114A-F26C-3318-610F-52BFA2DE4A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3926" y="1565885"/>
            <a:ext cx="4532626" cy="4660106"/>
          </a:xfrm>
          <a:prstGeom prst="rect">
            <a:avLst/>
          </a:prstGeom>
        </p:spPr>
      </p:pic>
      <p:sp>
        <p:nvSpPr>
          <p:cNvPr id="4" name="Title 3">
            <a:extLst>
              <a:ext uri="{FF2B5EF4-FFF2-40B4-BE49-F238E27FC236}">
                <a16:creationId xmlns:a16="http://schemas.microsoft.com/office/drawing/2014/main" id="{81C2632B-78D7-1E07-5A51-0441980AF215}"/>
              </a:ext>
            </a:extLst>
          </p:cNvPr>
          <p:cNvSpPr>
            <a:spLocks noGrp="1"/>
          </p:cNvSpPr>
          <p:nvPr>
            <p:ph type="title"/>
          </p:nvPr>
        </p:nvSpPr>
        <p:spPr>
          <a:xfrm>
            <a:off x="366712" y="908328"/>
            <a:ext cx="6464040" cy="365125"/>
          </a:xfrm>
        </p:spPr>
        <p:txBody>
          <a:bodyPr/>
          <a:lstStyle/>
          <a:p>
            <a:r>
              <a:rPr lang="en-US"/>
              <a:t>Our</a:t>
            </a:r>
            <a:r>
              <a:rPr lang="en-US">
                <a:solidFill>
                  <a:schemeClr val="accent1"/>
                </a:solidFill>
              </a:rPr>
              <a:t> Foundation</a:t>
            </a:r>
            <a:endParaRPr lang="en-US"/>
          </a:p>
        </p:txBody>
      </p:sp>
      <p:pic>
        <p:nvPicPr>
          <p:cNvPr id="6" name="Picture 5" descr="A blue and black stripe&#10;&#10;AI-generated content may be incorrect.">
            <a:extLst>
              <a:ext uri="{FF2B5EF4-FFF2-40B4-BE49-F238E27FC236}">
                <a16:creationId xmlns:a16="http://schemas.microsoft.com/office/drawing/2014/main" id="{57CD6B40-4F4C-C53F-DA86-FEA5C203C863}"/>
              </a:ext>
            </a:extLst>
          </p:cNvPr>
          <p:cNvPicPr>
            <a:picLocks noChangeAspect="1"/>
          </p:cNvPicPr>
          <p:nvPr/>
        </p:nvPicPr>
        <p:blipFill>
          <a:blip r:embed="rId6"/>
          <a:stretch>
            <a:fillRect/>
          </a:stretch>
        </p:blipFill>
        <p:spPr>
          <a:xfrm>
            <a:off x="8139811" y="-7119723"/>
            <a:ext cx="2338578" cy="6858000"/>
          </a:xfrm>
          <a:prstGeom prst="rect">
            <a:avLst/>
          </a:prstGeom>
        </p:spPr>
      </p:pic>
      <p:sp>
        <p:nvSpPr>
          <p:cNvPr id="12" name="Rectangle: Rounded Corners 11">
            <a:extLst>
              <a:ext uri="{FF2B5EF4-FFF2-40B4-BE49-F238E27FC236}">
                <a16:creationId xmlns:a16="http://schemas.microsoft.com/office/drawing/2014/main" id="{FE9B3611-1B63-A2E4-1BA4-BA91C9E4A868}"/>
              </a:ext>
            </a:extLst>
          </p:cNvPr>
          <p:cNvSpPr/>
          <p:nvPr/>
        </p:nvSpPr>
        <p:spPr>
          <a:xfrm>
            <a:off x="5724293" y="1707204"/>
            <a:ext cx="5346829"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a:solidFill>
                  <a:schemeClr val="tx2"/>
                </a:solidFill>
              </a:rPr>
              <a:t>“Together for a healthier tomorrow”</a:t>
            </a:r>
          </a:p>
          <a:p>
            <a:pPr lvl="1"/>
            <a:r>
              <a:rPr lang="en-GB" sz="1320">
                <a:solidFill>
                  <a:schemeClr val="bg2">
                    <a:lumMod val="10000"/>
                  </a:schemeClr>
                </a:solidFill>
              </a:rPr>
              <a:t>We contribute to a better, healthier tomorrow – from simplifying compliance to driving sustainability and beyond.</a:t>
            </a:r>
            <a:endParaRPr lang="da-DK" sz="1440">
              <a:solidFill>
                <a:schemeClr val="bg2">
                  <a:lumMod val="10000"/>
                </a:schemeClr>
              </a:solidFill>
            </a:endParaRPr>
          </a:p>
        </p:txBody>
      </p:sp>
      <p:sp>
        <p:nvSpPr>
          <p:cNvPr id="13" name="Rectangle: Rounded Corners 12">
            <a:extLst>
              <a:ext uri="{FF2B5EF4-FFF2-40B4-BE49-F238E27FC236}">
                <a16:creationId xmlns:a16="http://schemas.microsoft.com/office/drawing/2014/main" id="{AFE69480-7632-6269-F078-2E07314EA229}"/>
              </a:ext>
            </a:extLst>
          </p:cNvPr>
          <p:cNvSpPr/>
          <p:nvPr/>
        </p:nvSpPr>
        <p:spPr>
          <a:xfrm>
            <a:off x="5580802" y="3345056"/>
            <a:ext cx="5490321"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754380" lvl="1" indent="-205740">
              <a:buClr>
                <a:schemeClr val="accent1"/>
              </a:buClr>
              <a:buFont typeface="Arial" panose="020B0604020202020204" pitchFamily="34" charset="0"/>
              <a:buChar char="•"/>
            </a:pPr>
            <a:r>
              <a:rPr lang="en-GB" sz="1320" b="1">
                <a:solidFill>
                  <a:schemeClr val="tx2"/>
                </a:solidFill>
              </a:rPr>
              <a:t>Value Through Customer Centricity: </a:t>
            </a:r>
            <a:r>
              <a:rPr lang="en-GB" sz="1320">
                <a:solidFill>
                  <a:schemeClr val="bg2">
                    <a:lumMod val="10000"/>
                  </a:schemeClr>
                </a:solidFill>
              </a:rPr>
              <a:t>Delivering real, measurable value in everything we do.</a:t>
            </a:r>
          </a:p>
          <a:p>
            <a:pPr marL="754380" lvl="1" indent="-205740">
              <a:buClr>
                <a:schemeClr val="accent1"/>
              </a:buClr>
              <a:buFont typeface="Arial" panose="020B0604020202020204" pitchFamily="34" charset="0"/>
              <a:buChar char="•"/>
            </a:pPr>
            <a:r>
              <a:rPr lang="en-GB" sz="1320" b="1">
                <a:solidFill>
                  <a:schemeClr val="tx2"/>
                </a:solidFill>
              </a:rPr>
              <a:t>Innovate the Industry:</a:t>
            </a:r>
            <a:r>
              <a:rPr lang="en-GB" sz="1320">
                <a:solidFill>
                  <a:schemeClr val="tx2"/>
                </a:solidFill>
              </a:rPr>
              <a:t> </a:t>
            </a:r>
            <a:r>
              <a:rPr lang="en-GB" sz="1320">
                <a:solidFill>
                  <a:schemeClr val="bg2">
                    <a:lumMod val="10000"/>
                  </a:schemeClr>
                </a:solidFill>
              </a:rPr>
              <a:t>Pushing boundaries and help shape evolving industry standards.</a:t>
            </a:r>
          </a:p>
          <a:p>
            <a:pPr marL="754380" lvl="1" indent="-205740">
              <a:buClr>
                <a:schemeClr val="accent1"/>
              </a:buClr>
              <a:buFont typeface="Arial" panose="020B0604020202020204" pitchFamily="34" charset="0"/>
              <a:buChar char="•"/>
            </a:pPr>
            <a:r>
              <a:rPr lang="en-GB" sz="1320" b="1">
                <a:solidFill>
                  <a:schemeClr val="tx2"/>
                </a:solidFill>
              </a:rPr>
              <a:t>One Global Ellab:</a:t>
            </a:r>
            <a:r>
              <a:rPr lang="en-GB" sz="1320">
                <a:solidFill>
                  <a:schemeClr val="tx2"/>
                </a:solidFill>
              </a:rPr>
              <a:t> </a:t>
            </a:r>
            <a:r>
              <a:rPr lang="en-GB" sz="1320">
                <a:solidFill>
                  <a:schemeClr val="bg2">
                    <a:lumMod val="10000"/>
                  </a:schemeClr>
                </a:solidFill>
              </a:rPr>
              <a:t>Operating as one global team, combining local knowledge with global strength.</a:t>
            </a:r>
            <a:endParaRPr lang="da-DK" sz="1440">
              <a:solidFill>
                <a:schemeClr val="bg2">
                  <a:lumMod val="10000"/>
                </a:schemeClr>
              </a:solidFill>
            </a:endParaRPr>
          </a:p>
        </p:txBody>
      </p:sp>
      <p:sp>
        <p:nvSpPr>
          <p:cNvPr id="14" name="Rectangle: Rounded Corners 13">
            <a:extLst>
              <a:ext uri="{FF2B5EF4-FFF2-40B4-BE49-F238E27FC236}">
                <a16:creationId xmlns:a16="http://schemas.microsoft.com/office/drawing/2014/main" id="{3B0E4295-1D2F-47C5-73AF-8D363249A68D}"/>
              </a:ext>
            </a:extLst>
          </p:cNvPr>
          <p:cNvSpPr/>
          <p:nvPr/>
        </p:nvSpPr>
        <p:spPr>
          <a:xfrm>
            <a:off x="5724294" y="5020875"/>
            <a:ext cx="5346828" cy="123109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a:solidFill>
                  <a:schemeClr val="tx2"/>
                </a:solidFill>
              </a:rPr>
              <a:t>Compliance Solutions</a:t>
            </a:r>
          </a:p>
          <a:p>
            <a:pPr lvl="1"/>
            <a:r>
              <a:rPr lang="en-GB" sz="1320">
                <a:solidFill>
                  <a:schemeClr val="bg2">
                    <a:lumMod val="10000"/>
                  </a:schemeClr>
                </a:solidFill>
              </a:rPr>
              <a:t>We’re your dedicated life science compliance partner – combining validation, monitoring, and calibration to protect your products and accelerate your success.</a:t>
            </a:r>
            <a:endParaRPr lang="da-DK" sz="1440">
              <a:solidFill>
                <a:schemeClr val="bg2">
                  <a:lumMod val="10000"/>
                </a:schemeClr>
              </a:solidFill>
            </a:endParaRPr>
          </a:p>
        </p:txBody>
      </p:sp>
      <p:sp>
        <p:nvSpPr>
          <p:cNvPr id="15" name="Rectangle: Rounded Corners 14">
            <a:extLst>
              <a:ext uri="{FF2B5EF4-FFF2-40B4-BE49-F238E27FC236}">
                <a16:creationId xmlns:a16="http://schemas.microsoft.com/office/drawing/2014/main" id="{FD6E4A79-5133-0602-78B1-1FA063DFC067}"/>
              </a:ext>
            </a:extLst>
          </p:cNvPr>
          <p:cNvSpPr/>
          <p:nvPr/>
        </p:nvSpPr>
        <p:spPr>
          <a:xfrm>
            <a:off x="4086063" y="5001200"/>
            <a:ext cx="1929161" cy="1231096"/>
          </a:xfrm>
          <a:prstGeom prst="roundRect">
            <a:avLst>
              <a:gd name="adj" fmla="val 9058"/>
            </a:avLst>
          </a:prstGeom>
          <a:no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What</a:t>
            </a:r>
          </a:p>
          <a:p>
            <a:pPr algn="r"/>
            <a:r>
              <a:rPr lang="en-GB" sz="2000">
                <a:solidFill>
                  <a:schemeClr val="tx2"/>
                </a:solidFill>
              </a:rPr>
              <a:t>do we do?</a:t>
            </a:r>
            <a:endParaRPr lang="da-DK" sz="2000">
              <a:solidFill>
                <a:schemeClr val="tx2"/>
              </a:solidFill>
            </a:endParaRPr>
          </a:p>
        </p:txBody>
      </p:sp>
      <p:sp>
        <p:nvSpPr>
          <p:cNvPr id="16" name="Rectangle: Rounded Corners 15">
            <a:extLst>
              <a:ext uri="{FF2B5EF4-FFF2-40B4-BE49-F238E27FC236}">
                <a16:creationId xmlns:a16="http://schemas.microsoft.com/office/drawing/2014/main" id="{19CE7CDE-1620-91F6-6ADC-F5E518512D27}"/>
              </a:ext>
            </a:extLst>
          </p:cNvPr>
          <p:cNvSpPr/>
          <p:nvPr/>
        </p:nvSpPr>
        <p:spPr>
          <a:xfrm>
            <a:off x="3931424" y="3170498"/>
            <a:ext cx="1929161" cy="1231096"/>
          </a:xfrm>
          <a:prstGeom prst="roundRect">
            <a:avLst>
              <a:gd name="adj" fmla="val 960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How</a:t>
            </a:r>
            <a:r>
              <a:rPr lang="en-GB" sz="2800">
                <a:solidFill>
                  <a:schemeClr val="accent1"/>
                </a:solidFill>
              </a:rPr>
              <a:t> </a:t>
            </a:r>
          </a:p>
          <a:p>
            <a:pPr algn="r"/>
            <a:r>
              <a:rPr lang="en-GB" sz="2000">
                <a:solidFill>
                  <a:schemeClr val="tx2"/>
                </a:solidFill>
              </a:rPr>
              <a:t>do we execute it?</a:t>
            </a:r>
            <a:endParaRPr lang="da-DK" sz="2000">
              <a:solidFill>
                <a:schemeClr val="tx2"/>
              </a:solidFill>
            </a:endParaRPr>
          </a:p>
        </p:txBody>
      </p:sp>
      <p:sp>
        <p:nvSpPr>
          <p:cNvPr id="17" name="Rectangle: Rounded Corners 16">
            <a:extLst>
              <a:ext uri="{FF2B5EF4-FFF2-40B4-BE49-F238E27FC236}">
                <a16:creationId xmlns:a16="http://schemas.microsoft.com/office/drawing/2014/main" id="{FA188D17-5009-5CC2-3B01-5FD84D1E78D1}"/>
              </a:ext>
            </a:extLst>
          </p:cNvPr>
          <p:cNvSpPr/>
          <p:nvPr/>
        </p:nvSpPr>
        <p:spPr>
          <a:xfrm>
            <a:off x="3931424" y="1707204"/>
            <a:ext cx="1929161" cy="1231096"/>
          </a:xfrm>
          <a:prstGeom prst="roundRect">
            <a:avLst>
              <a:gd name="adj" fmla="val 10145"/>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Why</a:t>
            </a:r>
            <a:r>
              <a:rPr lang="en-GB" sz="2400">
                <a:solidFill>
                  <a:schemeClr val="accent1"/>
                </a:solidFill>
              </a:rPr>
              <a:t> </a:t>
            </a:r>
          </a:p>
          <a:p>
            <a:pPr algn="r"/>
            <a:r>
              <a:rPr lang="en-GB" sz="2000">
                <a:solidFill>
                  <a:schemeClr val="tx2"/>
                </a:solidFill>
              </a:rPr>
              <a:t>do we do it?</a:t>
            </a:r>
            <a:endParaRPr lang="da-DK" sz="2000">
              <a:solidFill>
                <a:schemeClr val="tx2"/>
              </a:solidFill>
            </a:endParaRPr>
          </a:p>
        </p:txBody>
      </p:sp>
      <p:sp>
        <p:nvSpPr>
          <p:cNvPr id="7" name="Tekstfelt 1">
            <a:extLst>
              <a:ext uri="{FF2B5EF4-FFF2-40B4-BE49-F238E27FC236}">
                <a16:creationId xmlns:a16="http://schemas.microsoft.com/office/drawing/2014/main" id="{BA9961A3-7B61-88E5-35DE-A5791136571D}"/>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7</a:t>
            </a:fld>
            <a:endParaRPr lang="da-DK" sz="1400">
              <a:solidFill>
                <a:schemeClr val="accent1"/>
              </a:solidFill>
              <a:latin typeface="+mn-lt"/>
            </a:endParaRPr>
          </a:p>
        </p:txBody>
      </p:sp>
    </p:spTree>
    <p:extLst>
      <p:ext uri="{BB962C8B-B14F-4D97-AF65-F5344CB8AC3E}">
        <p14:creationId xmlns:p14="http://schemas.microsoft.com/office/powerpoint/2010/main" val="1005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5D88-D868-9A1B-52FF-2441648DCD40}"/>
            </a:ext>
          </a:extLst>
        </p:cNvPr>
        <p:cNvGrpSpPr/>
        <p:nvPr/>
      </p:nvGrpSpPr>
      <p:grpSpPr>
        <a:xfrm>
          <a:off x="0" y="0"/>
          <a:ext cx="0" cy="0"/>
          <a:chOff x="0" y="0"/>
          <a:chExt cx="0" cy="0"/>
        </a:xfrm>
      </p:grpSpPr>
      <p:sp>
        <p:nvSpPr>
          <p:cNvPr id="36" name="Rectangle 4">
            <a:extLst>
              <a:ext uri="{FF2B5EF4-FFF2-40B4-BE49-F238E27FC236}">
                <a16:creationId xmlns:a16="http://schemas.microsoft.com/office/drawing/2014/main" id="{117D3EDF-5047-F32D-D938-2005F6BB0541}"/>
              </a:ext>
            </a:extLst>
          </p:cNvPr>
          <p:cNvSpPr/>
          <p:nvPr/>
        </p:nvSpPr>
        <p:spPr>
          <a:xfrm>
            <a:off x="6771402" y="1746708"/>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el 2">
            <a:extLst>
              <a:ext uri="{FF2B5EF4-FFF2-40B4-BE49-F238E27FC236}">
                <a16:creationId xmlns:a16="http://schemas.microsoft.com/office/drawing/2014/main" id="{EF196D27-DBAD-338C-546F-47A3AC5EECB6}"/>
              </a:ext>
            </a:extLst>
          </p:cNvPr>
          <p:cNvSpPr txBox="1">
            <a:spLocks/>
          </p:cNvSpPr>
          <p:nvPr/>
        </p:nvSpPr>
        <p:spPr bwMode="auto">
          <a:xfrm>
            <a:off x="6830280" y="4166503"/>
            <a:ext cx="2384607"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unite equipment, expertise &amp; services</a:t>
            </a:r>
          </a:p>
          <a:p>
            <a:pPr>
              <a:lnSpc>
                <a:spcPct val="100000"/>
              </a:lnSpc>
            </a:pPr>
            <a:endParaRPr lang="en-US" sz="1050" noProof="1"/>
          </a:p>
        </p:txBody>
      </p:sp>
      <p:grpSp>
        <p:nvGrpSpPr>
          <p:cNvPr id="38" name="Group 37">
            <a:extLst>
              <a:ext uri="{FF2B5EF4-FFF2-40B4-BE49-F238E27FC236}">
                <a16:creationId xmlns:a16="http://schemas.microsoft.com/office/drawing/2014/main" id="{1DC51BDB-DF91-092C-2F92-30B535CBB015}"/>
              </a:ext>
            </a:extLst>
          </p:cNvPr>
          <p:cNvGrpSpPr/>
          <p:nvPr/>
        </p:nvGrpSpPr>
        <p:grpSpPr>
          <a:xfrm>
            <a:off x="6830279" y="5010726"/>
            <a:ext cx="2342662" cy="1261525"/>
            <a:chOff x="1599784" y="4991220"/>
            <a:chExt cx="2342662" cy="1261525"/>
          </a:xfrm>
        </p:grpSpPr>
        <p:sp>
          <p:nvSpPr>
            <p:cNvPr id="39" name="Titel 2">
              <a:extLst>
                <a:ext uri="{FF2B5EF4-FFF2-40B4-BE49-F238E27FC236}">
                  <a16:creationId xmlns:a16="http://schemas.microsoft.com/office/drawing/2014/main" id="{5C749EC6-937D-4642-202D-8775E5CC7E83}"/>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tailored solutions that fit your project goals, timeline, and budget - from equipment rental to acquisition, and scalable personnel support.</a:t>
              </a:r>
            </a:p>
          </p:txBody>
        </p:sp>
        <p:sp>
          <p:nvSpPr>
            <p:cNvPr id="40" name="Titel 2">
              <a:extLst>
                <a:ext uri="{FF2B5EF4-FFF2-40B4-BE49-F238E27FC236}">
                  <a16:creationId xmlns:a16="http://schemas.microsoft.com/office/drawing/2014/main" id="{FD80226F-9298-FE57-26EB-DD4F8002AE61}"/>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reliable, consistent compliance - no matter where you operate in the world. </a:t>
              </a:r>
            </a:p>
          </p:txBody>
        </p:sp>
        <p:cxnSp>
          <p:nvCxnSpPr>
            <p:cNvPr id="41" name="Conector recto 14">
              <a:extLst>
                <a:ext uri="{FF2B5EF4-FFF2-40B4-BE49-F238E27FC236}">
                  <a16:creationId xmlns:a16="http://schemas.microsoft.com/office/drawing/2014/main" id="{301ACB2D-558D-7381-51E9-E47E0E1DCDD6}"/>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5" name="Rectangle 4">
            <a:extLst>
              <a:ext uri="{FF2B5EF4-FFF2-40B4-BE49-F238E27FC236}">
                <a16:creationId xmlns:a16="http://schemas.microsoft.com/office/drawing/2014/main" id="{211F0E7A-5724-5D79-14FA-911D0CBB7D28}"/>
              </a:ext>
            </a:extLst>
          </p:cNvPr>
          <p:cNvSpPr/>
          <p:nvPr/>
        </p:nvSpPr>
        <p:spPr>
          <a:xfrm>
            <a:off x="1540907" y="1727202"/>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4">
            <a:extLst>
              <a:ext uri="{FF2B5EF4-FFF2-40B4-BE49-F238E27FC236}">
                <a16:creationId xmlns:a16="http://schemas.microsoft.com/office/drawing/2014/main" id="{C08A1D7E-B273-8562-BC41-A9A7A54D83B2}"/>
              </a:ext>
            </a:extLst>
          </p:cNvPr>
          <p:cNvSpPr/>
          <p:nvPr/>
        </p:nvSpPr>
        <p:spPr>
          <a:xfrm rot="10800000">
            <a:off x="4167425" y="-50260"/>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
            <a:extLst>
              <a:ext uri="{FF2B5EF4-FFF2-40B4-BE49-F238E27FC236}">
                <a16:creationId xmlns:a16="http://schemas.microsoft.com/office/drawing/2014/main" id="{2621FA91-D84E-D7CA-B4AB-8EDA00E82A40}"/>
              </a:ext>
            </a:extLst>
          </p:cNvPr>
          <p:cNvSpPr/>
          <p:nvPr/>
        </p:nvSpPr>
        <p:spPr>
          <a:xfrm rot="10800000">
            <a:off x="9448020" y="-395915"/>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el 2">
            <a:extLst>
              <a:ext uri="{FF2B5EF4-FFF2-40B4-BE49-F238E27FC236}">
                <a16:creationId xmlns:a16="http://schemas.microsoft.com/office/drawing/2014/main" id="{B42D8D85-2BCF-16B6-47B2-CBB6AE86D976}"/>
              </a:ext>
            </a:extLst>
          </p:cNvPr>
          <p:cNvSpPr>
            <a:spLocks noGrp="1"/>
          </p:cNvSpPr>
          <p:nvPr>
            <p:ph type="title"/>
          </p:nvPr>
        </p:nvSpPr>
        <p:spPr>
          <a:xfrm>
            <a:off x="371474" y="944563"/>
            <a:ext cx="3570972" cy="1153398"/>
          </a:xfrm>
        </p:spPr>
        <p:txBody>
          <a:bodyPr/>
          <a:lstStyle/>
          <a:p>
            <a:pPr>
              <a:lnSpc>
                <a:spcPct val="100000"/>
              </a:lnSpc>
            </a:pPr>
            <a:r>
              <a:rPr lang="en-US" noProof="1"/>
              <a:t>Our Core </a:t>
            </a:r>
            <a:r>
              <a:rPr lang="en-US" noProof="1">
                <a:solidFill>
                  <a:schemeClr val="accent1"/>
                </a:solidFill>
              </a:rPr>
              <a:t>Principles</a:t>
            </a:r>
          </a:p>
        </p:txBody>
      </p:sp>
      <p:sp>
        <p:nvSpPr>
          <p:cNvPr id="11" name="Titel 2">
            <a:extLst>
              <a:ext uri="{FF2B5EF4-FFF2-40B4-BE49-F238E27FC236}">
                <a16:creationId xmlns:a16="http://schemas.microsoft.com/office/drawing/2014/main" id="{B03A9932-D4D3-F554-BDFE-E506FD284BD5}"/>
              </a:ext>
            </a:extLst>
          </p:cNvPr>
          <p:cNvSpPr txBox="1">
            <a:spLocks/>
          </p:cNvSpPr>
          <p:nvPr/>
        </p:nvSpPr>
        <p:spPr bwMode="auto">
          <a:xfrm>
            <a:off x="1599785" y="4146997"/>
            <a:ext cx="2232913"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deliver end-to-end compliance</a:t>
            </a:r>
          </a:p>
          <a:p>
            <a:pPr>
              <a:lnSpc>
                <a:spcPct val="100000"/>
              </a:lnSpc>
            </a:pPr>
            <a:endParaRPr lang="en-US" sz="1050" noProof="1"/>
          </a:p>
        </p:txBody>
      </p:sp>
      <p:grpSp>
        <p:nvGrpSpPr>
          <p:cNvPr id="34" name="Group 33">
            <a:extLst>
              <a:ext uri="{FF2B5EF4-FFF2-40B4-BE49-F238E27FC236}">
                <a16:creationId xmlns:a16="http://schemas.microsoft.com/office/drawing/2014/main" id="{5189570F-61CF-17B2-E9D7-D9CF1031EC5C}"/>
              </a:ext>
            </a:extLst>
          </p:cNvPr>
          <p:cNvGrpSpPr/>
          <p:nvPr/>
        </p:nvGrpSpPr>
        <p:grpSpPr>
          <a:xfrm>
            <a:off x="1599784" y="4991220"/>
            <a:ext cx="2342662" cy="1261525"/>
            <a:chOff x="1599784" y="4991220"/>
            <a:chExt cx="2342662" cy="1261525"/>
          </a:xfrm>
        </p:grpSpPr>
        <p:sp>
          <p:nvSpPr>
            <p:cNvPr id="12" name="Titel 2">
              <a:extLst>
                <a:ext uri="{FF2B5EF4-FFF2-40B4-BE49-F238E27FC236}">
                  <a16:creationId xmlns:a16="http://schemas.microsoft.com/office/drawing/2014/main" id="{F18AB6AA-21EA-9C45-0F77-7FED7024B0A8}"/>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With one trusted partner, you can eliminate vendor complexity, ensure better cost control and expect faster project execution.</a:t>
              </a:r>
            </a:p>
          </p:txBody>
        </p:sp>
        <p:sp>
          <p:nvSpPr>
            <p:cNvPr id="13" name="Titel 2">
              <a:extLst>
                <a:ext uri="{FF2B5EF4-FFF2-40B4-BE49-F238E27FC236}">
                  <a16:creationId xmlns:a16="http://schemas.microsoft.com/office/drawing/2014/main" id="{78F1B171-0833-EF9E-992A-C68D534CEEA3}"/>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From greenfield to full operation, you get support in every phase of the project to ensure compliance.</a:t>
              </a:r>
            </a:p>
          </p:txBody>
        </p:sp>
        <p:cxnSp>
          <p:nvCxnSpPr>
            <p:cNvPr id="15" name="Conector recto 14">
              <a:extLst>
                <a:ext uri="{FF2B5EF4-FFF2-40B4-BE49-F238E27FC236}">
                  <a16:creationId xmlns:a16="http://schemas.microsoft.com/office/drawing/2014/main" id="{7F0258CB-0B7E-CFE3-ADFF-FF38C508767E}"/>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24" name="Titel 2">
            <a:extLst>
              <a:ext uri="{FF2B5EF4-FFF2-40B4-BE49-F238E27FC236}">
                <a16:creationId xmlns:a16="http://schemas.microsoft.com/office/drawing/2014/main" id="{09831014-CE94-6816-D98D-82BD98544EDE}"/>
              </a:ext>
            </a:extLst>
          </p:cNvPr>
          <p:cNvSpPr txBox="1">
            <a:spLocks/>
          </p:cNvSpPr>
          <p:nvPr/>
        </p:nvSpPr>
        <p:spPr bwMode="auto">
          <a:xfrm>
            <a:off x="4229639"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enable all-time audit readiness</a:t>
            </a:r>
          </a:p>
          <a:p>
            <a:pPr>
              <a:lnSpc>
                <a:spcPct val="100000"/>
              </a:lnSpc>
            </a:pPr>
            <a:endParaRPr lang="en-US" sz="1050" noProof="1"/>
          </a:p>
        </p:txBody>
      </p:sp>
      <p:sp>
        <p:nvSpPr>
          <p:cNvPr id="25" name="Titel 2">
            <a:extLst>
              <a:ext uri="{FF2B5EF4-FFF2-40B4-BE49-F238E27FC236}">
                <a16:creationId xmlns:a16="http://schemas.microsoft.com/office/drawing/2014/main" id="{DF4B41FB-95CB-DE8B-6214-5850029FADC4}"/>
              </a:ext>
            </a:extLst>
          </p:cNvPr>
          <p:cNvSpPr txBox="1">
            <a:spLocks/>
          </p:cNvSpPr>
          <p:nvPr/>
        </p:nvSpPr>
        <p:spPr bwMode="auto">
          <a:xfrm>
            <a:off x="4229638" y="2705153"/>
            <a:ext cx="2342662"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Maintain real-time compliance with validation, calibration, and monitoring – and always remain audit ready.</a:t>
            </a:r>
          </a:p>
        </p:txBody>
      </p:sp>
      <p:sp>
        <p:nvSpPr>
          <p:cNvPr id="26" name="Titel 2">
            <a:extLst>
              <a:ext uri="{FF2B5EF4-FFF2-40B4-BE49-F238E27FC236}">
                <a16:creationId xmlns:a16="http://schemas.microsoft.com/office/drawing/2014/main" id="{25E2760E-DF67-1E14-335D-79F2B1FCD8E5}"/>
              </a:ext>
            </a:extLst>
          </p:cNvPr>
          <p:cNvSpPr txBox="1">
            <a:spLocks/>
          </p:cNvSpPr>
          <p:nvPr/>
        </p:nvSpPr>
        <p:spPr bwMode="auto">
          <a:xfrm>
            <a:off x="9498433"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shape industry standards</a:t>
            </a:r>
          </a:p>
          <a:p>
            <a:pPr>
              <a:lnSpc>
                <a:spcPct val="100000"/>
              </a:lnSpc>
            </a:pPr>
            <a:endParaRPr lang="en-US" sz="1050" noProof="1"/>
          </a:p>
        </p:txBody>
      </p:sp>
      <p:sp>
        <p:nvSpPr>
          <p:cNvPr id="27" name="Titel 2">
            <a:extLst>
              <a:ext uri="{FF2B5EF4-FFF2-40B4-BE49-F238E27FC236}">
                <a16:creationId xmlns:a16="http://schemas.microsoft.com/office/drawing/2014/main" id="{90BCA84D-C35B-7526-E96F-92322535616E}"/>
              </a:ext>
            </a:extLst>
          </p:cNvPr>
          <p:cNvSpPr txBox="1">
            <a:spLocks/>
          </p:cNvSpPr>
          <p:nvPr/>
        </p:nvSpPr>
        <p:spPr bwMode="auto">
          <a:xfrm>
            <a:off x="9498432" y="2705153"/>
            <a:ext cx="2342662" cy="1150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Regulations the life science industry are constantly evolving - we keep you </a:t>
            </a:r>
          </a:p>
          <a:p>
            <a:pPr>
              <a:lnSpc>
                <a:spcPct val="100000"/>
              </a:lnSpc>
            </a:pPr>
            <a:r>
              <a:rPr lang="en-US" sz="900" b="0" noProof="1">
                <a:solidFill>
                  <a:schemeClr val="bg1"/>
                </a:solidFill>
                <a:latin typeface="+mn-lt"/>
              </a:rPr>
              <a:t>ahead with regulatory intelligence </a:t>
            </a:r>
          </a:p>
          <a:p>
            <a:pPr>
              <a:lnSpc>
                <a:spcPct val="100000"/>
              </a:lnSpc>
            </a:pPr>
            <a:r>
              <a:rPr lang="en-US" sz="900" b="0" noProof="1">
                <a:solidFill>
                  <a:schemeClr val="bg1"/>
                </a:solidFill>
                <a:latin typeface="+mn-lt"/>
              </a:rPr>
              <a:t>and best practices that </a:t>
            </a:r>
          </a:p>
          <a:p>
            <a:pPr>
              <a:lnSpc>
                <a:spcPct val="100000"/>
              </a:lnSpc>
            </a:pPr>
            <a:r>
              <a:rPr lang="en-US" sz="900" b="0" noProof="1">
                <a:solidFill>
                  <a:schemeClr val="bg1"/>
                </a:solidFill>
                <a:latin typeface="+mn-lt"/>
              </a:rPr>
              <a:t>future-proof your </a:t>
            </a:r>
          </a:p>
          <a:p>
            <a:pPr>
              <a:lnSpc>
                <a:spcPct val="100000"/>
              </a:lnSpc>
            </a:pPr>
            <a:r>
              <a:rPr lang="en-US" sz="900" b="0" noProof="1">
                <a:solidFill>
                  <a:schemeClr val="bg1"/>
                </a:solidFill>
                <a:latin typeface="+mn-lt"/>
              </a:rPr>
              <a:t>compliance. </a:t>
            </a:r>
          </a:p>
        </p:txBody>
      </p:sp>
      <p:pic>
        <p:nvPicPr>
          <p:cNvPr id="29" name="Picture 28">
            <a:extLst>
              <a:ext uri="{FF2B5EF4-FFF2-40B4-BE49-F238E27FC236}">
                <a16:creationId xmlns:a16="http://schemas.microsoft.com/office/drawing/2014/main" id="{405DED18-673F-73B3-3F1D-024476171FAB}"/>
              </a:ext>
            </a:extLst>
          </p:cNvPr>
          <p:cNvPicPr>
            <a:picLocks noChangeAspect="1"/>
          </p:cNvPicPr>
          <p:nvPr/>
        </p:nvPicPr>
        <p:blipFill>
          <a:blip r:embed="rId3"/>
          <a:stretch>
            <a:fillRect/>
          </a:stretch>
        </p:blipFill>
        <p:spPr>
          <a:xfrm>
            <a:off x="1612249" y="3672738"/>
            <a:ext cx="546751" cy="438540"/>
          </a:xfrm>
          <a:prstGeom prst="rect">
            <a:avLst/>
          </a:prstGeom>
        </p:spPr>
      </p:pic>
      <p:pic>
        <p:nvPicPr>
          <p:cNvPr id="23" name="Graphic 22" descr="Shield Tick outline">
            <a:extLst>
              <a:ext uri="{FF2B5EF4-FFF2-40B4-BE49-F238E27FC236}">
                <a16:creationId xmlns:a16="http://schemas.microsoft.com/office/drawing/2014/main" id="{B6E9C174-B4A6-57D9-6298-F2D76A9C11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9638" y="1691684"/>
            <a:ext cx="379515" cy="379515"/>
          </a:xfrm>
          <a:prstGeom prst="rect">
            <a:avLst/>
          </a:prstGeom>
        </p:spPr>
      </p:pic>
      <p:pic>
        <p:nvPicPr>
          <p:cNvPr id="30" name="Graphic 29" descr="Network outline">
            <a:extLst>
              <a:ext uri="{FF2B5EF4-FFF2-40B4-BE49-F238E27FC236}">
                <a16:creationId xmlns:a16="http://schemas.microsoft.com/office/drawing/2014/main" id="{C30C2006-CF79-9F09-3924-B5EA5106F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8676" y="1621946"/>
            <a:ext cx="427089" cy="427089"/>
          </a:xfrm>
          <a:prstGeom prst="rect">
            <a:avLst/>
          </a:prstGeom>
        </p:spPr>
      </p:pic>
      <p:pic>
        <p:nvPicPr>
          <p:cNvPr id="44" name="Imagen 8">
            <a:extLst>
              <a:ext uri="{FF2B5EF4-FFF2-40B4-BE49-F238E27FC236}">
                <a16:creationId xmlns:a16="http://schemas.microsoft.com/office/drawing/2014/main" id="{AB9AD685-B4B0-B9AB-86D0-3435CD26BE48}"/>
              </a:ext>
            </a:extLst>
          </p:cNvPr>
          <p:cNvPicPr>
            <a:picLocks noChangeAspect="1"/>
          </p:cNvPicPr>
          <p:nvPr/>
        </p:nvPicPr>
        <p:blipFill>
          <a:blip r:embed="rId8"/>
          <a:stretch>
            <a:fillRect/>
          </a:stretch>
        </p:blipFill>
        <p:spPr>
          <a:xfrm>
            <a:off x="6884623" y="3718028"/>
            <a:ext cx="309113" cy="322553"/>
          </a:xfrm>
          <a:prstGeom prst="rect">
            <a:avLst/>
          </a:prstGeom>
        </p:spPr>
      </p:pic>
    </p:spTree>
    <p:extLst>
      <p:ext uri="{BB962C8B-B14F-4D97-AF65-F5344CB8AC3E}">
        <p14:creationId xmlns:p14="http://schemas.microsoft.com/office/powerpoint/2010/main" val="2596581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88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100" fill="hold"/>
                                        <p:tgtEl>
                                          <p:spTgt spid="5"/>
                                        </p:tgtEl>
                                        <p:attrNameLst>
                                          <p:attrName>ppt_x</p:attrName>
                                        </p:attrNameLst>
                                      </p:cBhvr>
                                      <p:tavLst>
                                        <p:tav tm="0">
                                          <p:val>
                                            <p:strVal val="#ppt_x"/>
                                          </p:val>
                                        </p:tav>
                                        <p:tav tm="100000">
                                          <p:val>
                                            <p:strVal val="#ppt_x"/>
                                          </p:val>
                                        </p:tav>
                                      </p:tavLst>
                                    </p:anim>
                                    <p:anim calcmode="lin" valueType="num">
                                      <p:cBhvr additive="base">
                                        <p:cTn id="8" dur="11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88000" fill="hold" nodeType="withEffect">
                                  <p:stCondLst>
                                    <p:cond delay="2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800" fill="hold"/>
                                        <p:tgtEl>
                                          <p:spTgt spid="29"/>
                                        </p:tgtEl>
                                        <p:attrNameLst>
                                          <p:attrName>ppt_x</p:attrName>
                                        </p:attrNameLst>
                                      </p:cBhvr>
                                      <p:tavLst>
                                        <p:tav tm="0">
                                          <p:val>
                                            <p:strVal val="#ppt_x"/>
                                          </p:val>
                                        </p:tav>
                                        <p:tav tm="100000">
                                          <p:val>
                                            <p:strVal val="#ppt_x"/>
                                          </p:val>
                                        </p:tav>
                                      </p:tavLst>
                                    </p:anim>
                                    <p:anim calcmode="lin" valueType="num">
                                      <p:cBhvr additive="base">
                                        <p:cTn id="12" dur="8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decel="88000"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00" fill="hold"/>
                                        <p:tgtEl>
                                          <p:spTgt spid="11"/>
                                        </p:tgtEl>
                                        <p:attrNameLst>
                                          <p:attrName>ppt_x</p:attrName>
                                        </p:attrNameLst>
                                      </p:cBhvr>
                                      <p:tavLst>
                                        <p:tav tm="0">
                                          <p:val>
                                            <p:strVal val="#ppt_x"/>
                                          </p:val>
                                        </p:tav>
                                        <p:tav tm="100000">
                                          <p:val>
                                            <p:strVal val="#ppt_x"/>
                                          </p:val>
                                        </p:tav>
                                      </p:tavLst>
                                    </p:anim>
                                    <p:anim calcmode="lin" valueType="num">
                                      <p:cBhvr additive="base">
                                        <p:cTn id="16" dur="7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600" fill="hold"/>
                                        <p:tgtEl>
                                          <p:spTgt spid="34"/>
                                        </p:tgtEl>
                                        <p:attrNameLst>
                                          <p:attrName>ppt_x</p:attrName>
                                        </p:attrNameLst>
                                      </p:cBhvr>
                                      <p:tavLst>
                                        <p:tav tm="0">
                                          <p:val>
                                            <p:strVal val="#ppt_x"/>
                                          </p:val>
                                        </p:tav>
                                        <p:tav tm="100000">
                                          <p:val>
                                            <p:strVal val="#ppt_x"/>
                                          </p:val>
                                        </p:tav>
                                      </p:tavLst>
                                    </p:anim>
                                    <p:anim calcmode="lin" valueType="num">
                                      <p:cBhvr additive="base">
                                        <p:cTn id="20" dur="600" fill="hold"/>
                                        <p:tgtEl>
                                          <p:spTgt spid="34"/>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9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900" fill="hold"/>
                                        <p:tgtEl>
                                          <p:spTgt spid="25"/>
                                        </p:tgtEl>
                                        <p:attrNameLst>
                                          <p:attrName>ppt_x</p:attrName>
                                        </p:attrNameLst>
                                      </p:cBhvr>
                                      <p:tavLst>
                                        <p:tav tm="0">
                                          <p:val>
                                            <p:strVal val="#ppt_x"/>
                                          </p:val>
                                        </p:tav>
                                        <p:tav tm="100000">
                                          <p:val>
                                            <p:strVal val="#ppt_x"/>
                                          </p:val>
                                        </p:tav>
                                      </p:tavLst>
                                    </p:anim>
                                    <p:anim calcmode="lin" valueType="num">
                                      <p:cBhvr additive="base">
                                        <p:cTn id="28" dur="900" fill="hold"/>
                                        <p:tgtEl>
                                          <p:spTgt spid="25"/>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9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1000" fill="hold"/>
                                        <p:tgtEl>
                                          <p:spTgt spid="24"/>
                                        </p:tgtEl>
                                        <p:attrNameLst>
                                          <p:attrName>ppt_x</p:attrName>
                                        </p:attrNameLst>
                                      </p:cBhvr>
                                      <p:tavLst>
                                        <p:tav tm="0">
                                          <p:val>
                                            <p:strVal val="#ppt_x"/>
                                          </p:val>
                                        </p:tav>
                                        <p:tav tm="100000">
                                          <p:val>
                                            <p:strVal val="#ppt_x"/>
                                          </p:val>
                                        </p:tav>
                                      </p:tavLst>
                                    </p:anim>
                                    <p:anim calcmode="lin" valueType="num">
                                      <p:cBhvr additive="base">
                                        <p:cTn id="32" dur="1000" fill="hold"/>
                                        <p:tgtEl>
                                          <p:spTgt spid="24"/>
                                        </p:tgtEl>
                                        <p:attrNameLst>
                                          <p:attrName>ppt_y</p:attrName>
                                        </p:attrNameLst>
                                      </p:cBhvr>
                                      <p:tavLst>
                                        <p:tav tm="0">
                                          <p:val>
                                            <p:strVal val="0-#ppt_h/2"/>
                                          </p:val>
                                        </p:tav>
                                        <p:tav tm="100000">
                                          <p:val>
                                            <p:strVal val="#ppt_y"/>
                                          </p:val>
                                        </p:tav>
                                      </p:tavLst>
                                    </p:anim>
                                  </p:childTnLst>
                                </p:cTn>
                              </p:par>
                              <p:par>
                                <p:cTn id="33" presetID="2" presetClass="entr" presetSubtype="1" decel="100000" fill="hold" nodeType="withEffect">
                                  <p:stCondLst>
                                    <p:cond delay="100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1000" fill="hold"/>
                                        <p:tgtEl>
                                          <p:spTgt spid="23"/>
                                        </p:tgtEl>
                                        <p:attrNameLst>
                                          <p:attrName>ppt_x</p:attrName>
                                        </p:attrNameLst>
                                      </p:cBhvr>
                                      <p:tavLst>
                                        <p:tav tm="0">
                                          <p:val>
                                            <p:strVal val="#ppt_x"/>
                                          </p:val>
                                        </p:tav>
                                        <p:tav tm="100000">
                                          <p:val>
                                            <p:strVal val="#ppt_x"/>
                                          </p:val>
                                        </p:tav>
                                      </p:tavLst>
                                    </p:anim>
                                    <p:anim calcmode="lin" valueType="num">
                                      <p:cBhvr additive="base">
                                        <p:cTn id="36" dur="1000" fill="hold"/>
                                        <p:tgtEl>
                                          <p:spTgt spid="23"/>
                                        </p:tgtEl>
                                        <p:attrNameLst>
                                          <p:attrName>ppt_y</p:attrName>
                                        </p:attrNameLst>
                                      </p:cBhvr>
                                      <p:tavLst>
                                        <p:tav tm="0">
                                          <p:val>
                                            <p:strVal val="0-#ppt_h/2"/>
                                          </p:val>
                                        </p:tav>
                                        <p:tav tm="100000">
                                          <p:val>
                                            <p:strVal val="#ppt_y"/>
                                          </p:val>
                                        </p:tav>
                                      </p:tavLst>
                                    </p:anim>
                                  </p:childTnLst>
                                </p:cTn>
                              </p:par>
                              <p:par>
                                <p:cTn id="37" presetID="2" presetClass="entr" presetSubtype="4" decel="88000" fill="hold" grpId="0" nodeType="withEffect">
                                  <p:stCondLst>
                                    <p:cond delay="130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1100" fill="hold"/>
                                        <p:tgtEl>
                                          <p:spTgt spid="36"/>
                                        </p:tgtEl>
                                        <p:attrNameLst>
                                          <p:attrName>ppt_x</p:attrName>
                                        </p:attrNameLst>
                                      </p:cBhvr>
                                      <p:tavLst>
                                        <p:tav tm="0">
                                          <p:val>
                                            <p:strVal val="#ppt_x"/>
                                          </p:val>
                                        </p:tav>
                                        <p:tav tm="100000">
                                          <p:val>
                                            <p:strVal val="#ppt_x"/>
                                          </p:val>
                                        </p:tav>
                                      </p:tavLst>
                                    </p:anim>
                                    <p:anim calcmode="lin" valueType="num">
                                      <p:cBhvr additive="base">
                                        <p:cTn id="40" dur="1100" fill="hold"/>
                                        <p:tgtEl>
                                          <p:spTgt spid="36"/>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1500"/>
                                  </p:stCondLst>
                                  <p:childTnLst>
                                    <p:set>
                                      <p:cBhvr>
                                        <p:cTn id="42" dur="1" fill="hold">
                                          <p:stCondLst>
                                            <p:cond delay="0"/>
                                          </p:stCondLst>
                                        </p:cTn>
                                        <p:tgtEl>
                                          <p:spTgt spid="44"/>
                                        </p:tgtEl>
                                        <p:attrNameLst>
                                          <p:attrName>style.visibility</p:attrName>
                                        </p:attrNameLst>
                                      </p:cBhvr>
                                      <p:to>
                                        <p:strVal val="visible"/>
                                      </p:to>
                                    </p:set>
                                    <p:anim calcmode="lin" valueType="num">
                                      <p:cBhvr additive="base">
                                        <p:cTn id="43" dur="800" fill="hold"/>
                                        <p:tgtEl>
                                          <p:spTgt spid="44"/>
                                        </p:tgtEl>
                                        <p:attrNameLst>
                                          <p:attrName>ppt_x</p:attrName>
                                        </p:attrNameLst>
                                      </p:cBhvr>
                                      <p:tavLst>
                                        <p:tav tm="0">
                                          <p:val>
                                            <p:strVal val="#ppt_x"/>
                                          </p:val>
                                        </p:tav>
                                        <p:tav tm="100000">
                                          <p:val>
                                            <p:strVal val="#ppt_x"/>
                                          </p:val>
                                        </p:tav>
                                      </p:tavLst>
                                    </p:anim>
                                    <p:anim calcmode="lin" valueType="num">
                                      <p:cBhvr additive="base">
                                        <p:cTn id="44" dur="800" fill="hold"/>
                                        <p:tgtEl>
                                          <p:spTgt spid="44"/>
                                        </p:tgtEl>
                                        <p:attrNameLst>
                                          <p:attrName>ppt_y</p:attrName>
                                        </p:attrNameLst>
                                      </p:cBhvr>
                                      <p:tavLst>
                                        <p:tav tm="0">
                                          <p:val>
                                            <p:strVal val="1+#ppt_h/2"/>
                                          </p:val>
                                        </p:tav>
                                        <p:tav tm="100000">
                                          <p:val>
                                            <p:strVal val="#ppt_y"/>
                                          </p:val>
                                        </p:tav>
                                      </p:tavLst>
                                    </p:anim>
                                  </p:childTnLst>
                                </p:cTn>
                              </p:par>
                              <p:par>
                                <p:cTn id="45" presetID="2" presetClass="entr" presetSubtype="4" decel="88000" fill="hold" grpId="0" nodeType="withEffect">
                                  <p:stCondLst>
                                    <p:cond delay="150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700" fill="hold"/>
                                        <p:tgtEl>
                                          <p:spTgt spid="37"/>
                                        </p:tgtEl>
                                        <p:attrNameLst>
                                          <p:attrName>ppt_x</p:attrName>
                                        </p:attrNameLst>
                                      </p:cBhvr>
                                      <p:tavLst>
                                        <p:tav tm="0">
                                          <p:val>
                                            <p:strVal val="#ppt_x"/>
                                          </p:val>
                                        </p:tav>
                                        <p:tav tm="100000">
                                          <p:val>
                                            <p:strVal val="#ppt_x"/>
                                          </p:val>
                                        </p:tav>
                                      </p:tavLst>
                                    </p:anim>
                                    <p:anim calcmode="lin" valueType="num">
                                      <p:cBhvr additive="base">
                                        <p:cTn id="48" dur="7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150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600" fill="hold"/>
                                        <p:tgtEl>
                                          <p:spTgt spid="38"/>
                                        </p:tgtEl>
                                        <p:attrNameLst>
                                          <p:attrName>ppt_x</p:attrName>
                                        </p:attrNameLst>
                                      </p:cBhvr>
                                      <p:tavLst>
                                        <p:tav tm="0">
                                          <p:val>
                                            <p:strVal val="#ppt_x"/>
                                          </p:val>
                                        </p:tav>
                                        <p:tav tm="100000">
                                          <p:val>
                                            <p:strVal val="#ppt_x"/>
                                          </p:val>
                                        </p:tav>
                                      </p:tavLst>
                                    </p:anim>
                                    <p:anim calcmode="lin" valueType="num">
                                      <p:cBhvr additive="base">
                                        <p:cTn id="52" dur="600" fill="hold"/>
                                        <p:tgtEl>
                                          <p:spTgt spid="38"/>
                                        </p:tgtEl>
                                        <p:attrNameLst>
                                          <p:attrName>ppt_y</p:attrName>
                                        </p:attrNameLst>
                                      </p:cBhvr>
                                      <p:tavLst>
                                        <p:tav tm="0">
                                          <p:val>
                                            <p:strVal val="1+#ppt_h/2"/>
                                          </p:val>
                                        </p:tav>
                                        <p:tav tm="100000">
                                          <p:val>
                                            <p:strVal val="#ppt_y"/>
                                          </p:val>
                                        </p:tav>
                                      </p:tavLst>
                                    </p:anim>
                                  </p:childTnLst>
                                </p:cTn>
                              </p:par>
                              <p:par>
                                <p:cTn id="53" presetID="2" presetClass="entr" presetSubtype="1" decel="100000" fill="hold" grpId="0" nodeType="withEffect">
                                  <p:stCondLst>
                                    <p:cond delay="180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1200" fill="hold"/>
                                        <p:tgtEl>
                                          <p:spTgt spid="21"/>
                                        </p:tgtEl>
                                        <p:attrNameLst>
                                          <p:attrName>ppt_x</p:attrName>
                                        </p:attrNameLst>
                                      </p:cBhvr>
                                      <p:tavLst>
                                        <p:tav tm="0">
                                          <p:val>
                                            <p:strVal val="#ppt_x"/>
                                          </p:val>
                                        </p:tav>
                                        <p:tav tm="100000">
                                          <p:val>
                                            <p:strVal val="#ppt_x"/>
                                          </p:val>
                                        </p:tav>
                                      </p:tavLst>
                                    </p:anim>
                                    <p:anim calcmode="lin" valueType="num">
                                      <p:cBhvr additive="base">
                                        <p:cTn id="56" dur="1200" fill="hold"/>
                                        <p:tgtEl>
                                          <p:spTgt spid="21"/>
                                        </p:tgtEl>
                                        <p:attrNameLst>
                                          <p:attrName>ppt_y</p:attrName>
                                        </p:attrNameLst>
                                      </p:cBhvr>
                                      <p:tavLst>
                                        <p:tav tm="0">
                                          <p:val>
                                            <p:strVal val="0-#ppt_h/2"/>
                                          </p:val>
                                        </p:tav>
                                        <p:tav tm="100000">
                                          <p:val>
                                            <p:strVal val="#ppt_y"/>
                                          </p:val>
                                        </p:tav>
                                      </p:tavLst>
                                    </p:anim>
                                  </p:childTnLst>
                                </p:cTn>
                              </p:par>
                              <p:par>
                                <p:cTn id="57" presetID="2" presetClass="entr" presetSubtype="1" decel="100000" fill="hold" grpId="0" nodeType="withEffect">
                                  <p:stCondLst>
                                    <p:cond delay="20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ppt_x"/>
                                          </p:val>
                                        </p:tav>
                                        <p:tav tm="100000">
                                          <p:val>
                                            <p:strVal val="#ppt_x"/>
                                          </p:val>
                                        </p:tav>
                                      </p:tavLst>
                                    </p:anim>
                                    <p:anim calcmode="lin" valueType="num">
                                      <p:cBhvr additive="base">
                                        <p:cTn id="60" dur="1000" fill="hold"/>
                                        <p:tgtEl>
                                          <p:spTgt spid="27"/>
                                        </p:tgtEl>
                                        <p:attrNameLst>
                                          <p:attrName>ppt_y</p:attrName>
                                        </p:attrNameLst>
                                      </p:cBhvr>
                                      <p:tavLst>
                                        <p:tav tm="0">
                                          <p:val>
                                            <p:strVal val="0-#ppt_h/2"/>
                                          </p:val>
                                        </p:tav>
                                        <p:tav tm="100000">
                                          <p:val>
                                            <p:strVal val="#ppt_y"/>
                                          </p:val>
                                        </p:tav>
                                      </p:tavLst>
                                    </p:anim>
                                  </p:childTnLst>
                                </p:cTn>
                              </p:par>
                              <p:par>
                                <p:cTn id="61" presetID="2" presetClass="entr" presetSubtype="1" decel="100000" fill="hold" grpId="0" nodeType="withEffect">
                                  <p:stCondLst>
                                    <p:cond delay="2200"/>
                                  </p:stCondLst>
                                  <p:childTnLst>
                                    <p:set>
                                      <p:cBhvr>
                                        <p:cTn id="62" dur="1" fill="hold">
                                          <p:stCondLst>
                                            <p:cond delay="0"/>
                                          </p:stCondLst>
                                        </p:cTn>
                                        <p:tgtEl>
                                          <p:spTgt spid="26"/>
                                        </p:tgtEl>
                                        <p:attrNameLst>
                                          <p:attrName>style.visibility</p:attrName>
                                        </p:attrNameLst>
                                      </p:cBhvr>
                                      <p:to>
                                        <p:strVal val="visible"/>
                                      </p:to>
                                    </p:set>
                                    <p:anim calcmode="lin" valueType="num">
                                      <p:cBhvr additive="base">
                                        <p:cTn id="63" dur="1000" fill="hold"/>
                                        <p:tgtEl>
                                          <p:spTgt spid="26"/>
                                        </p:tgtEl>
                                        <p:attrNameLst>
                                          <p:attrName>ppt_x</p:attrName>
                                        </p:attrNameLst>
                                      </p:cBhvr>
                                      <p:tavLst>
                                        <p:tav tm="0">
                                          <p:val>
                                            <p:strVal val="#ppt_x"/>
                                          </p:val>
                                        </p:tav>
                                        <p:tav tm="100000">
                                          <p:val>
                                            <p:strVal val="#ppt_x"/>
                                          </p:val>
                                        </p:tav>
                                      </p:tavLst>
                                    </p:anim>
                                    <p:anim calcmode="lin" valueType="num">
                                      <p:cBhvr additive="base">
                                        <p:cTn id="64" dur="1000" fill="hold"/>
                                        <p:tgtEl>
                                          <p:spTgt spid="26"/>
                                        </p:tgtEl>
                                        <p:attrNameLst>
                                          <p:attrName>ppt_y</p:attrName>
                                        </p:attrNameLst>
                                      </p:cBhvr>
                                      <p:tavLst>
                                        <p:tav tm="0">
                                          <p:val>
                                            <p:strVal val="0-#ppt_h/2"/>
                                          </p:val>
                                        </p:tav>
                                        <p:tav tm="100000">
                                          <p:val>
                                            <p:strVal val="#ppt_y"/>
                                          </p:val>
                                        </p:tav>
                                      </p:tavLst>
                                    </p:anim>
                                  </p:childTnLst>
                                </p:cTn>
                              </p:par>
                              <p:par>
                                <p:cTn id="65" presetID="2" presetClass="entr" presetSubtype="1" decel="100000" fill="hold" nodeType="withEffect">
                                  <p:stCondLst>
                                    <p:cond delay="2300"/>
                                  </p:stCondLst>
                                  <p:childTnLst>
                                    <p:set>
                                      <p:cBhvr>
                                        <p:cTn id="66" dur="1" fill="hold">
                                          <p:stCondLst>
                                            <p:cond delay="0"/>
                                          </p:stCondLst>
                                        </p:cTn>
                                        <p:tgtEl>
                                          <p:spTgt spid="30"/>
                                        </p:tgtEl>
                                        <p:attrNameLst>
                                          <p:attrName>style.visibility</p:attrName>
                                        </p:attrNameLst>
                                      </p:cBhvr>
                                      <p:to>
                                        <p:strVal val="visible"/>
                                      </p:to>
                                    </p:set>
                                    <p:anim calcmode="lin" valueType="num">
                                      <p:cBhvr additive="base">
                                        <p:cTn id="67" dur="1000" fill="hold"/>
                                        <p:tgtEl>
                                          <p:spTgt spid="30"/>
                                        </p:tgtEl>
                                        <p:attrNameLst>
                                          <p:attrName>ppt_x</p:attrName>
                                        </p:attrNameLst>
                                      </p:cBhvr>
                                      <p:tavLst>
                                        <p:tav tm="0">
                                          <p:val>
                                            <p:strVal val="#ppt_x"/>
                                          </p:val>
                                        </p:tav>
                                        <p:tav tm="100000">
                                          <p:val>
                                            <p:strVal val="#ppt_x"/>
                                          </p:val>
                                        </p:tav>
                                      </p:tavLst>
                                    </p:anim>
                                    <p:anim calcmode="lin" valueType="num">
                                      <p:cBhvr additive="base">
                                        <p:cTn id="68" dur="1000" fill="hold"/>
                                        <p:tgtEl>
                                          <p:spTgt spid="3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5" grpId="0" animBg="1"/>
      <p:bldP spid="16" grpId="0" animBg="1"/>
      <p:bldP spid="21" grpId="0" animBg="1"/>
      <p:bldP spid="11" grpId="0"/>
      <p:bldP spid="24" grpId="0"/>
      <p:bldP spid="25" grpId="0"/>
      <p:bldP spid="26" grpId="0"/>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a:extLst>
            <a:ext uri="{FF2B5EF4-FFF2-40B4-BE49-F238E27FC236}">
              <a16:creationId xmlns:a16="http://schemas.microsoft.com/office/drawing/2014/main" id="{5ED39700-5114-599B-2993-8D3644DBDE1D}"/>
            </a:ext>
          </a:extLst>
        </p:cNvPr>
        <p:cNvGrpSpPr/>
        <p:nvPr/>
      </p:nvGrpSpPr>
      <p:grpSpPr>
        <a:xfrm>
          <a:off x="0" y="0"/>
          <a:ext cx="0" cy="0"/>
          <a:chOff x="0" y="0"/>
          <a:chExt cx="0" cy="0"/>
        </a:xfrm>
      </p:grpSpPr>
      <p:pic>
        <p:nvPicPr>
          <p:cNvPr id="12" name="Picture 11" descr="A group of people in lab coats&#10;&#10;AI-generated content may be incorrect.">
            <a:extLst>
              <a:ext uri="{FF2B5EF4-FFF2-40B4-BE49-F238E27FC236}">
                <a16:creationId xmlns:a16="http://schemas.microsoft.com/office/drawing/2014/main" id="{37B953F9-7DEF-1B24-0CCC-CF6E9A38554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A8041536-CBE6-FAD8-207D-D675EB4E2E6B}"/>
              </a:ext>
            </a:extLst>
          </p:cNvPr>
          <p:cNvSpPr>
            <a:spLocks noGrp="1"/>
          </p:cNvSpPr>
          <p:nvPr>
            <p:ph type="body" sz="half" idx="10"/>
          </p:nvPr>
        </p:nvSpPr>
        <p:spPr>
          <a:xfrm>
            <a:off x="365737" y="1583117"/>
            <a:ext cx="5724525" cy="205184"/>
          </a:xfrm>
        </p:spPr>
        <p:txBody>
          <a:bodyPr/>
          <a:lstStyle/>
          <a:p>
            <a:pPr marL="0" indent="0">
              <a:buNone/>
            </a:pPr>
            <a:r>
              <a:rPr lang="en-US" sz="1600" b="1"/>
              <a:t>Who are we?</a:t>
            </a:r>
          </a:p>
        </p:txBody>
      </p:sp>
      <p:sp>
        <p:nvSpPr>
          <p:cNvPr id="8" name="Content Placeholder 7">
            <a:extLst>
              <a:ext uri="{FF2B5EF4-FFF2-40B4-BE49-F238E27FC236}">
                <a16:creationId xmlns:a16="http://schemas.microsoft.com/office/drawing/2014/main" id="{4AA2A89A-7861-32B8-5442-D8BDB27955C0}"/>
              </a:ext>
            </a:extLst>
          </p:cNvPr>
          <p:cNvSpPr>
            <a:spLocks noGrp="1"/>
          </p:cNvSpPr>
          <p:nvPr>
            <p:ph sz="quarter" idx="4294967295"/>
          </p:nvPr>
        </p:nvSpPr>
        <p:spPr>
          <a:xfrm>
            <a:off x="518749" y="2249674"/>
            <a:ext cx="2840271" cy="842186"/>
          </a:xfrm>
        </p:spPr>
        <p:txBody>
          <a:bodyPr/>
          <a:lstStyle/>
          <a:p>
            <a:pPr>
              <a:buClr>
                <a:schemeClr val="bg1"/>
              </a:buClr>
            </a:pPr>
            <a:r>
              <a:rPr lang="en-US" sz="3600">
                <a:solidFill>
                  <a:schemeClr val="bg1"/>
                </a:solidFill>
              </a:rPr>
              <a:t>+75 years </a:t>
            </a:r>
          </a:p>
          <a:p>
            <a:pPr>
              <a:buClr>
                <a:schemeClr val="bg1"/>
              </a:buClr>
            </a:pPr>
            <a:r>
              <a:rPr lang="en-US" sz="1600" b="0"/>
              <a:t>of innovating compliance solutions for the life science sector.</a:t>
            </a:r>
            <a:endParaRPr lang="en-US" sz="1600"/>
          </a:p>
        </p:txBody>
      </p:sp>
      <p:sp>
        <p:nvSpPr>
          <p:cNvPr id="9" name="Content Placeholder 8">
            <a:extLst>
              <a:ext uri="{FF2B5EF4-FFF2-40B4-BE49-F238E27FC236}">
                <a16:creationId xmlns:a16="http://schemas.microsoft.com/office/drawing/2014/main" id="{FC505B3E-D57B-92BA-71AC-C179ECABF107}"/>
              </a:ext>
            </a:extLst>
          </p:cNvPr>
          <p:cNvSpPr>
            <a:spLocks noGrp="1"/>
          </p:cNvSpPr>
          <p:nvPr>
            <p:ph sz="quarter" idx="4294967295"/>
          </p:nvPr>
        </p:nvSpPr>
        <p:spPr>
          <a:xfrm>
            <a:off x="8186284" y="7905297"/>
            <a:ext cx="5399087" cy="3646488"/>
          </a:xfrm>
        </p:spPr>
        <p:txBody>
          <a:bodyPr/>
          <a:lstStyle/>
          <a:p>
            <a:pPr marL="0" indent="0" algn="just"/>
            <a:r>
              <a:rPr lang="en-GB" sz="1400" err="1"/>
              <a:t>Capabialities</a:t>
            </a:r>
            <a:endParaRPr lang="en-GB" sz="1400"/>
          </a:p>
          <a:p>
            <a:pPr marL="285750" indent="-285750" algn="just">
              <a:buFont typeface="Arial" panose="020B0604020202020204" pitchFamily="34" charset="0"/>
              <a:buChar char="•"/>
            </a:pPr>
            <a:r>
              <a:rPr lang="en-GB" sz="1400" b="0">
                <a:solidFill>
                  <a:schemeClr val="bg2">
                    <a:lumMod val="10000"/>
                  </a:schemeClr>
                </a:solidFill>
              </a:rPr>
              <a:t>CQV services &amp; validation systems</a:t>
            </a:r>
          </a:p>
          <a:p>
            <a:pPr marL="285750" indent="-285750" algn="just">
              <a:buFont typeface="Arial" panose="020B0604020202020204" pitchFamily="34" charset="0"/>
              <a:buChar char="•"/>
            </a:pPr>
            <a:r>
              <a:rPr lang="en-GB" sz="1400" b="0">
                <a:solidFill>
                  <a:schemeClr val="bg2">
                    <a:lumMod val="10000"/>
                  </a:schemeClr>
                </a:solidFill>
              </a:rPr>
              <a:t>Monitoring systems</a:t>
            </a:r>
          </a:p>
          <a:p>
            <a:pPr marL="285750" indent="-285750" algn="just">
              <a:buFont typeface="Arial" panose="020B0604020202020204" pitchFamily="34" charset="0"/>
              <a:buChar char="•"/>
            </a:pPr>
            <a:r>
              <a:rPr lang="en-GB" sz="1400" b="0">
                <a:solidFill>
                  <a:schemeClr val="bg2">
                    <a:lumMod val="10000"/>
                  </a:schemeClr>
                </a:solidFill>
              </a:rPr>
              <a:t>Calibration services &amp; systems</a:t>
            </a:r>
          </a:p>
          <a:p>
            <a:pPr marL="285750" indent="-285750" algn="just">
              <a:buFont typeface="Arial" panose="020B0604020202020204" pitchFamily="34" charset="0"/>
              <a:buChar char="•"/>
            </a:pPr>
            <a:r>
              <a:rPr lang="en-GB" sz="1400" b="0">
                <a:solidFill>
                  <a:schemeClr val="bg2">
                    <a:lumMod val="10000"/>
                  </a:schemeClr>
                </a:solidFill>
              </a:rPr>
              <a:t>Consulting &amp; engineering services</a:t>
            </a:r>
          </a:p>
          <a:p>
            <a:pPr marL="0" indent="0" algn="just"/>
            <a:endParaRPr lang="en-GB" sz="1400" b="0"/>
          </a:p>
          <a:p>
            <a:pPr marL="0" indent="0" algn="just"/>
            <a:r>
              <a:rPr lang="en-GB" sz="1400"/>
              <a:t>Accreditations</a:t>
            </a:r>
          </a:p>
          <a:p>
            <a:pPr marL="285750" indent="-285750" algn="just">
              <a:buFont typeface="Arial" panose="020B0604020202020204" pitchFamily="34" charset="0"/>
              <a:buChar char="•"/>
            </a:pPr>
            <a:r>
              <a:rPr lang="en-GB" sz="1400" b="0">
                <a:solidFill>
                  <a:schemeClr val="bg2">
                    <a:lumMod val="10000"/>
                  </a:schemeClr>
                </a:solidFill>
              </a:rPr>
              <a:t>ISO 17025 | ISO 9001 | ISO 14001</a:t>
            </a:r>
          </a:p>
          <a:p>
            <a:pPr marL="0" indent="0" algn="just"/>
            <a:r>
              <a:rPr lang="en-GB" sz="1400" b="0"/>
              <a:t> </a:t>
            </a:r>
          </a:p>
          <a:p>
            <a:pPr marL="0" indent="0" algn="just"/>
            <a:r>
              <a:rPr lang="en-GB" sz="1400"/>
              <a:t>Scale</a:t>
            </a:r>
          </a:p>
          <a:p>
            <a:pPr marL="285750" indent="-285750" algn="just">
              <a:buFont typeface="Arial" panose="020B0604020202020204" pitchFamily="34" charset="0"/>
              <a:buChar char="•"/>
            </a:pPr>
            <a:r>
              <a:rPr lang="en-GB" sz="1400" b="0">
                <a:solidFill>
                  <a:schemeClr val="bg2">
                    <a:lumMod val="10000"/>
                  </a:schemeClr>
                </a:solidFill>
              </a:rPr>
              <a:t>~800 employees worldwide </a:t>
            </a:r>
          </a:p>
          <a:p>
            <a:pPr marL="0" indent="0" algn="just"/>
            <a:endParaRPr lang="da-DK" sz="1400" b="0"/>
          </a:p>
          <a:p>
            <a:endParaRPr lang="en-US"/>
          </a:p>
        </p:txBody>
      </p:sp>
      <p:sp>
        <p:nvSpPr>
          <p:cNvPr id="3" name="Title 3">
            <a:extLst>
              <a:ext uri="{FF2B5EF4-FFF2-40B4-BE49-F238E27FC236}">
                <a16:creationId xmlns:a16="http://schemas.microsoft.com/office/drawing/2014/main" id="{6014D52C-2191-5151-58D1-985DF5E6ECEE}"/>
              </a:ext>
            </a:extLst>
          </p:cNvPr>
          <p:cNvSpPr txBox="1">
            <a:spLocks/>
          </p:cNvSpPr>
          <p:nvPr/>
        </p:nvSpPr>
        <p:spPr bwMode="auto">
          <a:xfrm>
            <a:off x="366712" y="839935"/>
            <a:ext cx="6464040" cy="55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4300"/>
              </a:lnSpc>
              <a:spcBef>
                <a:spcPct val="0"/>
              </a:spcBef>
              <a:spcAft>
                <a:spcPct val="0"/>
              </a:spcAft>
              <a:defRPr sz="4200" b="1" kern="1200">
                <a:solidFill>
                  <a:schemeClr val="bg1"/>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sz="3600" noProof="0">
                <a:solidFill>
                  <a:schemeClr val="tx2"/>
                </a:solidFill>
              </a:rPr>
              <a:t>Ellab at a </a:t>
            </a:r>
            <a:r>
              <a:rPr lang="en-US" sz="3600" noProof="0">
                <a:solidFill>
                  <a:schemeClr val="bg2"/>
                </a:solidFill>
              </a:rPr>
              <a:t>Glance</a:t>
            </a:r>
          </a:p>
        </p:txBody>
      </p:sp>
      <p:sp>
        <p:nvSpPr>
          <p:cNvPr id="2" name="Tekstfelt 1">
            <a:extLst>
              <a:ext uri="{FF2B5EF4-FFF2-40B4-BE49-F238E27FC236}">
                <a16:creationId xmlns:a16="http://schemas.microsoft.com/office/drawing/2014/main" id="{D2BABA72-AB62-87E0-A839-B9145B6F9C8D}"/>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9</a:t>
            </a:fld>
            <a:endParaRPr lang="da-DK" sz="1400">
              <a:solidFill>
                <a:schemeClr val="bg2"/>
              </a:solidFill>
              <a:latin typeface="+mn-lt"/>
            </a:endParaRPr>
          </a:p>
        </p:txBody>
      </p:sp>
      <p:sp>
        <p:nvSpPr>
          <p:cNvPr id="5" name="Content Placeholder 7">
            <a:extLst>
              <a:ext uri="{FF2B5EF4-FFF2-40B4-BE49-F238E27FC236}">
                <a16:creationId xmlns:a16="http://schemas.microsoft.com/office/drawing/2014/main" id="{91D69F1A-E751-824E-84AE-30BC69AB2C14}"/>
              </a:ext>
            </a:extLst>
          </p:cNvPr>
          <p:cNvSpPr txBox="1">
            <a:spLocks/>
          </p:cNvSpPr>
          <p:nvPr/>
        </p:nvSpPr>
        <p:spPr bwMode="auto">
          <a:xfrm>
            <a:off x="3877769" y="2159579"/>
            <a:ext cx="2373348" cy="888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75/100</a:t>
            </a:r>
            <a:endParaRPr lang="en-US" sz="1800" b="0">
              <a:solidFill>
                <a:schemeClr val="bg1"/>
              </a:solidFill>
            </a:endParaRPr>
          </a:p>
          <a:p>
            <a:pPr>
              <a:buClr>
                <a:schemeClr val="bg1"/>
              </a:buClr>
            </a:pPr>
            <a:r>
              <a:rPr lang="en-US" sz="1600" b="0"/>
              <a:t>of the top life science companies across the world use Ellab today.</a:t>
            </a:r>
            <a:br>
              <a:rPr lang="en-US" sz="1600" b="0"/>
            </a:br>
            <a:endParaRPr lang="en-US" sz="1600"/>
          </a:p>
        </p:txBody>
      </p:sp>
      <p:sp>
        <p:nvSpPr>
          <p:cNvPr id="6" name="Content Placeholder 7">
            <a:extLst>
              <a:ext uri="{FF2B5EF4-FFF2-40B4-BE49-F238E27FC236}">
                <a16:creationId xmlns:a16="http://schemas.microsoft.com/office/drawing/2014/main" id="{C1573C8E-133D-030B-1467-D548E824949B}"/>
              </a:ext>
            </a:extLst>
          </p:cNvPr>
          <p:cNvSpPr txBox="1">
            <a:spLocks/>
          </p:cNvSpPr>
          <p:nvPr/>
        </p:nvSpPr>
        <p:spPr bwMode="auto">
          <a:xfrm>
            <a:off x="3922438" y="4035761"/>
            <a:ext cx="2636982" cy="84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20 offices</a:t>
            </a:r>
            <a:r>
              <a:rPr lang="en-US" sz="3600" b="0"/>
              <a:t> </a:t>
            </a:r>
          </a:p>
          <a:p>
            <a:pPr>
              <a:buClr>
                <a:schemeClr val="bg1"/>
              </a:buClr>
            </a:pPr>
            <a:r>
              <a:rPr lang="en-US" sz="1600" b="0"/>
              <a:t>across North America, Europe, and Asia, with HQ in Denmark.</a:t>
            </a:r>
          </a:p>
        </p:txBody>
      </p:sp>
      <p:sp>
        <p:nvSpPr>
          <p:cNvPr id="10" name="Content Placeholder 7">
            <a:extLst>
              <a:ext uri="{FF2B5EF4-FFF2-40B4-BE49-F238E27FC236}">
                <a16:creationId xmlns:a16="http://schemas.microsoft.com/office/drawing/2014/main" id="{AFC5ED85-4FBD-3692-BF20-C1F3C6F2FFA5}"/>
              </a:ext>
            </a:extLst>
          </p:cNvPr>
          <p:cNvSpPr txBox="1">
            <a:spLocks/>
          </p:cNvSpPr>
          <p:nvPr/>
        </p:nvSpPr>
        <p:spPr bwMode="auto">
          <a:xfrm>
            <a:off x="518749" y="3893017"/>
            <a:ext cx="3403689" cy="1127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US" sz="3600">
                <a:solidFill>
                  <a:schemeClr val="bg1"/>
                </a:solidFill>
              </a:rPr>
              <a:t>~800 employees</a:t>
            </a:r>
            <a:endParaRPr lang="en-US" sz="3600" b="0">
              <a:solidFill>
                <a:schemeClr val="bg1"/>
              </a:solidFill>
            </a:endParaRPr>
          </a:p>
          <a:p>
            <a:pPr>
              <a:buClr>
                <a:schemeClr val="bg1"/>
              </a:buClr>
            </a:pPr>
            <a:r>
              <a:rPr lang="en-US" sz="1600" b="0"/>
              <a:t>across the globe, half of which perform on-site calibration, mapping, and CQV support.</a:t>
            </a:r>
          </a:p>
          <a:p>
            <a:endParaRPr lang="en-US" sz="1800"/>
          </a:p>
        </p:txBody>
      </p:sp>
      <p:sp>
        <p:nvSpPr>
          <p:cNvPr id="11" name="TextBox 10">
            <a:extLst>
              <a:ext uri="{FF2B5EF4-FFF2-40B4-BE49-F238E27FC236}">
                <a16:creationId xmlns:a16="http://schemas.microsoft.com/office/drawing/2014/main" id="{26015DA4-FCD1-2463-FA54-0E4F7FA6DCB3}"/>
              </a:ext>
            </a:extLst>
          </p:cNvPr>
          <p:cNvSpPr txBox="1"/>
          <p:nvPr/>
        </p:nvSpPr>
        <p:spPr>
          <a:xfrm>
            <a:off x="12938996" y="1330477"/>
            <a:ext cx="5787851" cy="4928465"/>
          </a:xfrm>
          <a:prstGeom prst="rect">
            <a:avLst/>
          </a:prstGeom>
          <a:noFill/>
        </p:spPr>
        <p:txBody>
          <a:bodyPr wrap="square">
            <a:spAutoFit/>
          </a:bodyPr>
          <a:lstStyle/>
          <a:p>
            <a:pPr marL="457200" algn="ctr">
              <a:lnSpc>
                <a:spcPct val="116000"/>
              </a:lnSpc>
              <a:spcAft>
                <a:spcPts val="800"/>
              </a:spcAft>
              <a:buNone/>
            </a:pPr>
            <a:r>
              <a:rPr lang="en-US" sz="2400" b="1">
                <a:solidFill>
                  <a:schemeClr val="bg1"/>
                </a:solidFill>
                <a:effectLst/>
                <a:latin typeface="+mn-lt"/>
                <a:ea typeface="Calibri" panose="020F0502020204030204" pitchFamily="34" charset="0"/>
                <a:cs typeface="Arial" panose="020B0604020202020204" pitchFamily="34" charset="0"/>
              </a:rPr>
              <a:t>Certifications, Accreditations, </a:t>
            </a:r>
            <a:br>
              <a:rPr lang="en-US" sz="2400" b="1">
                <a:solidFill>
                  <a:schemeClr val="bg1"/>
                </a:solidFill>
                <a:effectLst/>
                <a:latin typeface="+mn-lt"/>
                <a:ea typeface="Calibri" panose="020F0502020204030204" pitchFamily="34" charset="0"/>
                <a:cs typeface="Arial" panose="020B0604020202020204" pitchFamily="34" charset="0"/>
              </a:rPr>
            </a:br>
            <a:r>
              <a:rPr lang="en-US" sz="2400" b="1">
                <a:solidFill>
                  <a:schemeClr val="bg1"/>
                </a:solidFill>
                <a:effectLst/>
                <a:latin typeface="+mn-lt"/>
                <a:ea typeface="Calibri" panose="020F0502020204030204" pitchFamily="34" charset="0"/>
                <a:cs typeface="Arial" panose="020B0604020202020204" pitchFamily="34" charset="0"/>
              </a:rPr>
              <a:t>and Compliance</a:t>
            </a:r>
            <a:endParaRPr lang="da-DK" sz="2400">
              <a:solidFill>
                <a:schemeClr val="bg1"/>
              </a:solidFill>
              <a:effectLst/>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br>
              <a:rPr lang="da-DK">
                <a:latin typeface="+mn-lt"/>
                <a:ea typeface="MS Mincho" panose="02020609040205080304" pitchFamily="49" charset="-128"/>
                <a:cs typeface="Arial" panose="020B0604020202020204" pitchFamily="34" charset="0"/>
              </a:rPr>
            </a:br>
            <a:br>
              <a:rPr lang="da-DK">
                <a:latin typeface="+mn-lt"/>
                <a:ea typeface="MS Mincho" panose="02020609040205080304" pitchFamily="49" charset="-128"/>
                <a:cs typeface="Arial" panose="020B0604020202020204" pitchFamily="34" charset="0"/>
              </a:rPr>
            </a:br>
            <a:r>
              <a:rPr lang="en-US" sz="1600">
                <a:solidFill>
                  <a:schemeClr val="tx2"/>
                </a:solidFill>
                <a:effectLst/>
                <a:latin typeface="+mn-lt"/>
                <a:ea typeface="Calibri" panose="020F0502020204030204" pitchFamily="34" charset="0"/>
                <a:cs typeface="Arial" panose="020B0604020202020204" pitchFamily="34" charset="0"/>
              </a:rPr>
              <a:t>Software and services aligned with </a:t>
            </a:r>
            <a:r>
              <a:rPr lang="en-US" sz="1600" b="1">
                <a:solidFill>
                  <a:schemeClr val="tx2"/>
                </a:solidFill>
                <a:effectLst/>
                <a:latin typeface="+mn-lt"/>
                <a:ea typeface="Calibri" panose="020F0502020204030204" pitchFamily="34" charset="0"/>
                <a:cs typeface="Arial" panose="020B0604020202020204" pitchFamily="34" charset="0"/>
              </a:rPr>
              <a:t>GAMP 5</a:t>
            </a:r>
            <a:r>
              <a:rPr lang="en-US" sz="1600">
                <a:solidFill>
                  <a:schemeClr val="tx2"/>
                </a:solidFill>
                <a:effectLst/>
                <a:latin typeface="+mn-lt"/>
                <a:ea typeface="Calibri" panose="020F0502020204030204" pitchFamily="34" charset="0"/>
                <a:cs typeface="Arial" panose="020B0604020202020204" pitchFamily="34" charset="0"/>
              </a:rPr>
              <a:t> and </a:t>
            </a:r>
            <a:r>
              <a:rPr lang="en-US" sz="1600" b="1">
                <a:solidFill>
                  <a:schemeClr val="tx2"/>
                </a:solidFill>
                <a:effectLst/>
                <a:latin typeface="+mn-lt"/>
                <a:ea typeface="Calibri" panose="020F0502020204030204" pitchFamily="34" charset="0"/>
                <a:cs typeface="Arial" panose="020B0604020202020204" pitchFamily="34" charset="0"/>
              </a:rPr>
              <a:t>FDA 21 CFR Part 11</a:t>
            </a:r>
            <a:endParaRPr lang="da-DK" sz="1600" b="1">
              <a:solidFill>
                <a:schemeClr val="tx2"/>
              </a:solidFill>
              <a:effectLst/>
              <a:latin typeface="+mn-lt"/>
              <a:ea typeface="MS Mincho" panose="02020609040205080304" pitchFamily="49" charset="-128"/>
              <a:cs typeface="Arial" panose="020B0604020202020204" pitchFamily="34" charset="0"/>
            </a:endParaRPr>
          </a:p>
          <a:p>
            <a:pPr>
              <a:spcAft>
                <a:spcPts val="800"/>
              </a:spcAft>
            </a:pPr>
            <a:r>
              <a:rPr lang="en-US" sz="2400">
                <a:effectLst/>
                <a:latin typeface="+mn-lt"/>
                <a:ea typeface="MS Mincho" panose="02020609040205080304" pitchFamily="49" charset="-128"/>
                <a:cs typeface="Arial" panose="020B0604020202020204" pitchFamily="34" charset="0"/>
              </a:rPr>
              <a:t> </a:t>
            </a:r>
            <a:endParaRPr lang="da-DK" sz="2400">
              <a:effectLst/>
              <a:latin typeface="+mn-lt"/>
              <a:ea typeface="MS Mincho" panose="02020609040205080304" pitchFamily="49" charset="-128"/>
              <a:cs typeface="Arial" panose="020B0604020202020204" pitchFamily="34" charset="0"/>
            </a:endParaRPr>
          </a:p>
        </p:txBody>
      </p:sp>
      <p:pic>
        <p:nvPicPr>
          <p:cNvPr id="13" name="Graphic 12" descr="Ribbon with solid fill">
            <a:extLst>
              <a:ext uri="{FF2B5EF4-FFF2-40B4-BE49-F238E27FC236}">
                <a16:creationId xmlns:a16="http://schemas.microsoft.com/office/drawing/2014/main" id="{AA90E663-189C-00D3-C611-A3E64269C6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75721" y="382735"/>
            <a:ext cx="914400" cy="914400"/>
          </a:xfrm>
          <a:prstGeom prst="rect">
            <a:avLst/>
          </a:prstGeom>
        </p:spPr>
      </p:pic>
      <p:sp>
        <p:nvSpPr>
          <p:cNvPr id="14" name="Rectangle: Rounded Corners 13">
            <a:extLst>
              <a:ext uri="{FF2B5EF4-FFF2-40B4-BE49-F238E27FC236}">
                <a16:creationId xmlns:a16="http://schemas.microsoft.com/office/drawing/2014/main" id="{4CA8D5C4-62A8-346F-2B5E-44CFA7537768}"/>
              </a:ext>
            </a:extLst>
          </p:cNvPr>
          <p:cNvSpPr/>
          <p:nvPr/>
        </p:nvSpPr>
        <p:spPr>
          <a:xfrm>
            <a:off x="13747535" y="2627612"/>
            <a:ext cx="1765952" cy="511073"/>
          </a:xfrm>
          <a:prstGeom prst="roundRect">
            <a:avLst>
              <a:gd name="adj" fmla="val 0"/>
            </a:avLst>
          </a:prstGeom>
          <a:gradFill>
            <a:gsLst>
              <a:gs pos="0">
                <a:schemeClr val="accent1">
                  <a:lumMod val="5000"/>
                  <a:lumOff val="95000"/>
                  <a:alpha val="0"/>
                </a:schemeClr>
              </a:gs>
              <a:gs pos="97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9001</a:t>
            </a:r>
          </a:p>
        </p:txBody>
      </p:sp>
      <p:sp>
        <p:nvSpPr>
          <p:cNvPr id="15" name="Rectangle: Rounded Corners 14">
            <a:extLst>
              <a:ext uri="{FF2B5EF4-FFF2-40B4-BE49-F238E27FC236}">
                <a16:creationId xmlns:a16="http://schemas.microsoft.com/office/drawing/2014/main" id="{C9E67ECF-3E71-8093-C6D3-FB92192AB910}"/>
              </a:ext>
            </a:extLst>
          </p:cNvPr>
          <p:cNvSpPr/>
          <p:nvPr/>
        </p:nvSpPr>
        <p:spPr>
          <a:xfrm>
            <a:off x="15626931" y="2637103"/>
            <a:ext cx="2474006"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7025</a:t>
            </a:r>
          </a:p>
        </p:txBody>
      </p:sp>
      <p:sp>
        <p:nvSpPr>
          <p:cNvPr id="16" name="Rectangle: Rounded Corners 15">
            <a:extLst>
              <a:ext uri="{FF2B5EF4-FFF2-40B4-BE49-F238E27FC236}">
                <a16:creationId xmlns:a16="http://schemas.microsoft.com/office/drawing/2014/main" id="{33879B8E-46A8-DCA8-14E0-B9192A0A4B5B}"/>
              </a:ext>
            </a:extLst>
          </p:cNvPr>
          <p:cNvSpPr/>
          <p:nvPr/>
        </p:nvSpPr>
        <p:spPr>
          <a:xfrm>
            <a:off x="13747535" y="3250236"/>
            <a:ext cx="1506721"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4001</a:t>
            </a:r>
          </a:p>
        </p:txBody>
      </p:sp>
      <p:sp>
        <p:nvSpPr>
          <p:cNvPr id="17" name="Rectangle: Rounded Corners 16">
            <a:extLst>
              <a:ext uri="{FF2B5EF4-FFF2-40B4-BE49-F238E27FC236}">
                <a16:creationId xmlns:a16="http://schemas.microsoft.com/office/drawing/2014/main" id="{EBDFE0FD-6916-2DDF-CA9A-63463A712B7F}"/>
              </a:ext>
            </a:extLst>
          </p:cNvPr>
          <p:cNvSpPr/>
          <p:nvPr/>
        </p:nvSpPr>
        <p:spPr>
          <a:xfrm>
            <a:off x="16528220" y="3250237"/>
            <a:ext cx="1572717" cy="511073"/>
          </a:xfrm>
          <a:prstGeom prst="roundRect">
            <a:avLst>
              <a:gd name="adj" fmla="val 0"/>
            </a:avLst>
          </a:prstGeom>
          <a:gradFill>
            <a:gsLst>
              <a:gs pos="91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DANAK</a:t>
            </a:r>
          </a:p>
        </p:txBody>
      </p:sp>
      <p:sp>
        <p:nvSpPr>
          <p:cNvPr id="18" name="Rectangle: Rounded Corners 17">
            <a:extLst>
              <a:ext uri="{FF2B5EF4-FFF2-40B4-BE49-F238E27FC236}">
                <a16:creationId xmlns:a16="http://schemas.microsoft.com/office/drawing/2014/main" id="{8E2DB6DA-9AFA-3E76-15B2-7674942F8030}"/>
              </a:ext>
            </a:extLst>
          </p:cNvPr>
          <p:cNvSpPr/>
          <p:nvPr/>
        </p:nvSpPr>
        <p:spPr>
          <a:xfrm>
            <a:off x="15366752" y="3250235"/>
            <a:ext cx="1048972"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UKAS</a:t>
            </a:r>
          </a:p>
        </p:txBody>
      </p:sp>
      <p:sp>
        <p:nvSpPr>
          <p:cNvPr id="19" name="Rectangle: Rounded Corners 18">
            <a:extLst>
              <a:ext uri="{FF2B5EF4-FFF2-40B4-BE49-F238E27FC236}">
                <a16:creationId xmlns:a16="http://schemas.microsoft.com/office/drawing/2014/main" id="{31F62209-FBF3-908C-A7BA-9AD76F3BFE0A}"/>
              </a:ext>
            </a:extLst>
          </p:cNvPr>
          <p:cNvSpPr/>
          <p:nvPr/>
        </p:nvSpPr>
        <p:spPr>
          <a:xfrm>
            <a:off x="13747535" y="3872859"/>
            <a:ext cx="2233959"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A2LA</a:t>
            </a:r>
          </a:p>
        </p:txBody>
      </p:sp>
      <p:sp>
        <p:nvSpPr>
          <p:cNvPr id="20" name="Rectangle: Rounded Corners 19">
            <a:extLst>
              <a:ext uri="{FF2B5EF4-FFF2-40B4-BE49-F238E27FC236}">
                <a16:creationId xmlns:a16="http://schemas.microsoft.com/office/drawing/2014/main" id="{4FE4EA49-23B4-561B-C8D8-70266BE9F2CF}"/>
              </a:ext>
            </a:extLst>
          </p:cNvPr>
          <p:cNvSpPr/>
          <p:nvPr/>
        </p:nvSpPr>
        <p:spPr>
          <a:xfrm>
            <a:off x="16102792" y="3863369"/>
            <a:ext cx="1998145"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coVadis</a:t>
            </a:r>
          </a:p>
        </p:txBody>
      </p:sp>
    </p:spTree>
    <p:extLst>
      <p:ext uri="{BB962C8B-B14F-4D97-AF65-F5344CB8AC3E}">
        <p14:creationId xmlns:p14="http://schemas.microsoft.com/office/powerpoint/2010/main" val="3953211832"/>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Custom 5">
      <a:dk1>
        <a:srgbClr val="000000"/>
      </a:dk1>
      <a:lt1>
        <a:srgbClr val="FFFFFF"/>
      </a:lt1>
      <a:dk2>
        <a:srgbClr val="00004B"/>
      </a:dk2>
      <a:lt2>
        <a:srgbClr val="FFFFFF"/>
      </a:lt2>
      <a:accent1>
        <a:srgbClr val="17AAE2"/>
      </a:accent1>
      <a:accent2>
        <a:srgbClr val="ADD6EE"/>
      </a:accent2>
      <a:accent3>
        <a:srgbClr val="7BC70F"/>
      </a:accent3>
      <a:accent4>
        <a:srgbClr val="00004B"/>
      </a:accent4>
      <a:accent5>
        <a:srgbClr val="FBB040"/>
      </a:accent5>
      <a:accent6>
        <a:srgbClr val="A01966"/>
      </a:accent6>
      <a:hlink>
        <a:srgbClr val="00AEEF"/>
      </a:hlink>
      <a:folHlink>
        <a:srgbClr val="7F7F7F"/>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E1449FB9C10C74782B0F14E4AF588FA" ma:contentTypeVersion="19" ma:contentTypeDescription="Opret et nyt dokument." ma:contentTypeScope="" ma:versionID="52c3ac346fac46efe133da3effc56405">
  <xsd:schema xmlns:xsd="http://www.w3.org/2001/XMLSchema" xmlns:xs="http://www.w3.org/2001/XMLSchema" xmlns:p="http://schemas.microsoft.com/office/2006/metadata/properties" xmlns:ns2="658c6ee0-59ce-4e9b-83c6-8726f60a281a" xmlns:ns3="cf99408d-4da4-4c04-a30b-e9f366d7294d" targetNamespace="http://schemas.microsoft.com/office/2006/metadata/properties" ma:root="true" ma:fieldsID="0f9957e149cbef3a47834f0a1141473a" ns2:_="" ns3:_="">
    <xsd:import namespace="658c6ee0-59ce-4e9b-83c6-8726f60a281a"/>
    <xsd:import namespace="cf99408d-4da4-4c04-a30b-e9f366d729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8c6ee0-59ce-4e9b-83c6-8726f60a28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2449fb74-ddce-4354-82c8-d456aa319e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99408d-4da4-4c04-a30b-e9f366d7294d"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fd3eccc0-e98d-475b-8911-2ec490d5b4e6}" ma:internalName="TaxCatchAll" ma:showField="CatchAllData" ma:web="cf99408d-4da4-4c04-a30b-e9f366d729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58c6ee0-59ce-4e9b-83c6-8726f60a281a">
      <Terms xmlns="http://schemas.microsoft.com/office/infopath/2007/PartnerControls"/>
    </lcf76f155ced4ddcb4097134ff3c332f>
    <TaxCatchAll xmlns="cf99408d-4da4-4c04-a30b-e9f366d7294d" xsi:nil="true"/>
  </documentManagement>
</p:properties>
</file>

<file path=customXml/itemProps1.xml><?xml version="1.0" encoding="utf-8"?>
<ds:datastoreItem xmlns:ds="http://schemas.openxmlformats.org/officeDocument/2006/customXml" ds:itemID="{8152EEB7-FEF9-42EB-817A-C2264CECDDF9}">
  <ds:schemaRefs>
    <ds:schemaRef ds:uri="http://schemas.microsoft.com/sharepoint/v3/contenttype/forms"/>
  </ds:schemaRefs>
</ds:datastoreItem>
</file>

<file path=customXml/itemProps2.xml><?xml version="1.0" encoding="utf-8"?>
<ds:datastoreItem xmlns:ds="http://schemas.openxmlformats.org/officeDocument/2006/customXml" ds:itemID="{DC66368C-C7F5-4F54-A357-FC2A73EC77E1}">
  <ds:schemaRefs>
    <ds:schemaRef ds:uri="658c6ee0-59ce-4e9b-83c6-8726f60a281a"/>
    <ds:schemaRef ds:uri="cf99408d-4da4-4c04-a30b-e9f366d729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7C83DAA-853C-437C-B82B-B636A6EE8D1A}">
  <ds:schemaRefs>
    <ds:schemaRef ds:uri="5aa58c2a-f017-428b-bbaa-fa514989d33c"/>
    <ds:schemaRef ds:uri="658c6ee0-59ce-4e9b-83c6-8726f60a281a"/>
    <ds:schemaRef ds:uri="664ca7e1-e14f-440d-a513-c6c708b31b07"/>
    <ds:schemaRef ds:uri="cf99408d-4da4-4c04-a30b-e9f366d729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fault Theme</Template>
  <TotalTime>1771</TotalTime>
  <Words>1501</Words>
  <Application>Microsoft Office PowerPoint</Application>
  <PresentationFormat>Widescreen</PresentationFormat>
  <Paragraphs>267</Paragraphs>
  <Slides>21</Slides>
  <Notes>1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0" baseType="lpstr">
      <vt:lpstr>Arial</vt:lpstr>
      <vt:lpstr>Ellab Sans Medium</vt:lpstr>
      <vt:lpstr>Ellab Sans</vt:lpstr>
      <vt:lpstr>Aptos</vt:lpstr>
      <vt:lpstr>Ellab Sans Light</vt:lpstr>
      <vt:lpstr>1_ellab</vt:lpstr>
      <vt:lpstr>ellab</vt:lpstr>
      <vt:lpstr>2_ellab</vt:lpstr>
      <vt:lpstr>think-cell Slide</vt:lpstr>
      <vt:lpstr>Your Life Science Compliance Partner</vt:lpstr>
      <vt:lpstr>PowerPoint Presentation</vt:lpstr>
      <vt:lpstr>Adding Value to the  Life Science Industry</vt:lpstr>
      <vt:lpstr>End-to-End Life Cycle Support</vt:lpstr>
      <vt:lpstr>PowerPoint Presentation</vt:lpstr>
      <vt:lpstr>Reducing Vendor Complexity</vt:lpstr>
      <vt:lpstr>Our Foundation</vt:lpstr>
      <vt:lpstr>Our Core Principles</vt:lpstr>
      <vt:lpstr>PowerPoint Presentation</vt:lpstr>
      <vt:lpstr>PowerPoint Presentation</vt:lpstr>
      <vt:lpstr>What’s Our Presence?</vt:lpstr>
      <vt:lpstr>End            to     End  Compliance Solutions</vt:lpstr>
      <vt:lpstr> We Support Your Full Life Cycle</vt:lpstr>
      <vt:lpstr>PowerPoint Presentation</vt:lpstr>
      <vt:lpstr>PowerPoint Presentation</vt:lpstr>
      <vt:lpstr>PowerPoint Presentation</vt:lpstr>
      <vt:lpstr>How Do We Think To the Future?</vt:lpstr>
      <vt:lpstr>PowerPoint Presentation</vt:lpstr>
      <vt:lpstr>Who Do We Partner With?</vt:lpstr>
      <vt:lpstr>Who Supports Our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Thomas W. Flanagan</cp:lastModifiedBy>
  <cp:revision>1</cp:revision>
  <cp:lastPrinted>2025-04-04T12:58:46Z</cp:lastPrinted>
  <dcterms:created xsi:type="dcterms:W3CDTF">2025-03-26T08:34:25Z</dcterms:created>
  <dcterms:modified xsi:type="dcterms:W3CDTF">2025-09-04T07:1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1449FB9C10C74782B0F14E4AF588FA</vt:lpwstr>
  </property>
  <property fmtid="{D5CDD505-2E9C-101B-9397-08002B2CF9AE}" pid="3" name="MediaServiceImageTags">
    <vt:lpwstr/>
  </property>
</Properties>
</file>